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5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7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6" r:id="rId3"/>
    <p:sldMasterId id="2147483718" r:id="rId4"/>
    <p:sldMasterId id="2147483744" r:id="rId5"/>
    <p:sldMasterId id="2147483786" r:id="rId6"/>
    <p:sldMasterId id="2147483818" r:id="rId7"/>
    <p:sldMasterId id="2147483844" r:id="rId8"/>
    <p:sldMasterId id="2147483870" r:id="rId9"/>
  </p:sldMasterIdLst>
  <p:notesMasterIdLst>
    <p:notesMasterId r:id="rId21"/>
  </p:notesMasterIdLst>
  <p:sldIdLst>
    <p:sldId id="267" r:id="rId10"/>
    <p:sldId id="280" r:id="rId11"/>
    <p:sldId id="289" r:id="rId12"/>
    <p:sldId id="282" r:id="rId13"/>
    <p:sldId id="285" r:id="rId14"/>
    <p:sldId id="286" r:id="rId15"/>
    <p:sldId id="290" r:id="rId16"/>
    <p:sldId id="291" r:id="rId17"/>
    <p:sldId id="287" r:id="rId18"/>
    <p:sldId id="288" r:id="rId19"/>
    <p:sldId id="28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8EDD"/>
    <a:srgbClr val="EDC3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74" autoAdjust="0"/>
    <p:restoredTop sz="73589" autoAdjust="0"/>
  </p:normalViewPr>
  <p:slideViewPr>
    <p:cSldViewPr snapToGrid="0">
      <p:cViewPr varScale="1">
        <p:scale>
          <a:sx n="76" d="100"/>
          <a:sy n="76" d="100"/>
        </p:scale>
        <p:origin x="708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322C43-5ABD-403E-AB85-A586A2D953CC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903A49-BA98-43D2-96F4-2030E2C5C4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193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1245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68369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7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9333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100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454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420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1132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aken from documentation: https://docs.microsoft.com/en-us/azure/search/search-create-index-portal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7013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aken from documentation: https://docs.microsoft.com/en-us/azure/search/search-create-index-port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518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3A49-BA98-43D2-96F4-2030E2C5C43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880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2.jpe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jp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4.png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7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425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05238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35838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255343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245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751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540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766628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226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751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867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4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67857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F2C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/>
            </a:lvl1pPr>
          </a:lstStyle>
          <a:p>
            <a:pPr lvl="0"/>
            <a:r>
              <a:rPr lang="en-US" dirty="0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7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60000"/>
            <a:ext cx="11655840" cy="720000"/>
          </a:xfrm>
        </p:spPr>
        <p:txBody>
          <a:bodyPr lIns="180000"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69875" y="1169988"/>
            <a:ext cx="11655425" cy="334962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749425"/>
            <a:ext cx="11655425" cy="5108575"/>
          </a:xfrm>
        </p:spPr>
        <p:txBody>
          <a:bodyPr/>
          <a:lstStyle>
            <a:lvl1pPr>
              <a:defRPr/>
            </a:lvl1pPr>
            <a:lvl2pPr marL="237600">
              <a:defRPr/>
            </a:lvl2pPr>
          </a:lstStyle>
          <a:p>
            <a:pPr lvl="0"/>
            <a:r>
              <a:rPr lang="en-US" dirty="0"/>
              <a:t>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235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19141" y="360000"/>
            <a:ext cx="10805938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69875" y="1169988"/>
            <a:ext cx="11655425" cy="334962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749425"/>
            <a:ext cx="11655425" cy="5108575"/>
          </a:xfrm>
        </p:spPr>
        <p:txBody>
          <a:bodyPr/>
          <a:lstStyle>
            <a:lvl1pPr>
              <a:defRPr/>
            </a:lvl1pPr>
            <a:lvl2pPr marL="237600">
              <a:defRPr sz="2800"/>
            </a:lvl2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 88"/>
          <p:cNvSpPr>
            <a:spLocks noEditPoints="1"/>
          </p:cNvSpPr>
          <p:nvPr userDrawn="1"/>
        </p:nvSpPr>
        <p:spPr bwMode="auto">
          <a:xfrm>
            <a:off x="467833" y="360000"/>
            <a:ext cx="651308" cy="651308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rtun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3897" y="360000"/>
            <a:ext cx="10981182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69875" y="1169988"/>
            <a:ext cx="11655425" cy="334962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749425"/>
            <a:ext cx="11655425" cy="5108575"/>
          </a:xfrm>
        </p:spPr>
        <p:txBody>
          <a:bodyPr/>
          <a:lstStyle>
            <a:lvl1pPr>
              <a:defRPr/>
            </a:lvl1pPr>
            <a:lvl2pPr marL="237600">
              <a:defRPr sz="2800"/>
            </a:lvl2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reeform 13"/>
          <p:cNvSpPr>
            <a:spLocks noEditPoints="1"/>
          </p:cNvSpPr>
          <p:nvPr userDrawn="1"/>
        </p:nvSpPr>
        <p:spPr bwMode="auto">
          <a:xfrm>
            <a:off x="455749" y="365275"/>
            <a:ext cx="350279" cy="645825"/>
          </a:xfrm>
          <a:custGeom>
            <a:avLst/>
            <a:gdLst>
              <a:gd name="T0" fmla="*/ 2 w 122"/>
              <a:gd name="T1" fmla="*/ 65 h 225"/>
              <a:gd name="T2" fmla="*/ 14 w 122"/>
              <a:gd name="T3" fmla="*/ 77 h 225"/>
              <a:gd name="T4" fmla="*/ 17 w 122"/>
              <a:gd name="T5" fmla="*/ 76 h 225"/>
              <a:gd name="T6" fmla="*/ 119 w 122"/>
              <a:gd name="T7" fmla="*/ 42 h 225"/>
              <a:gd name="T8" fmla="*/ 119 w 122"/>
              <a:gd name="T9" fmla="*/ 30 h 225"/>
              <a:gd name="T10" fmla="*/ 105 w 122"/>
              <a:gd name="T11" fmla="*/ 23 h 225"/>
              <a:gd name="T12" fmla="*/ 3 w 122"/>
              <a:gd name="T13" fmla="*/ 57 h 225"/>
              <a:gd name="T14" fmla="*/ 108 w 122"/>
              <a:gd name="T15" fmla="*/ 28 h 225"/>
              <a:gd name="T16" fmla="*/ 114 w 122"/>
              <a:gd name="T17" fmla="*/ 35 h 225"/>
              <a:gd name="T18" fmla="*/ 111 w 122"/>
              <a:gd name="T19" fmla="*/ 42 h 225"/>
              <a:gd name="T20" fmla="*/ 14 w 122"/>
              <a:gd name="T21" fmla="*/ 71 h 225"/>
              <a:gd name="T22" fmla="*/ 9 w 122"/>
              <a:gd name="T23" fmla="*/ 67 h 225"/>
              <a:gd name="T24" fmla="*/ 8 w 122"/>
              <a:gd name="T25" fmla="*/ 59 h 225"/>
              <a:gd name="T26" fmla="*/ 106 w 122"/>
              <a:gd name="T27" fmla="*/ 28 h 225"/>
              <a:gd name="T28" fmla="*/ 14 w 122"/>
              <a:gd name="T29" fmla="*/ 43 h 225"/>
              <a:gd name="T30" fmla="*/ 66 w 122"/>
              <a:gd name="T31" fmla="*/ 28 h 225"/>
              <a:gd name="T32" fmla="*/ 73 w 122"/>
              <a:gd name="T33" fmla="*/ 10 h 225"/>
              <a:gd name="T34" fmla="*/ 9 w 122"/>
              <a:gd name="T35" fmla="*/ 17 h 225"/>
              <a:gd name="T36" fmla="*/ 3 w 122"/>
              <a:gd name="T37" fmla="*/ 35 h 225"/>
              <a:gd name="T38" fmla="*/ 61 w 122"/>
              <a:gd name="T39" fmla="*/ 8 h 225"/>
              <a:gd name="T40" fmla="*/ 67 w 122"/>
              <a:gd name="T41" fmla="*/ 12 h 225"/>
              <a:gd name="T42" fmla="*/ 65 w 122"/>
              <a:gd name="T43" fmla="*/ 22 h 225"/>
              <a:gd name="T44" fmla="*/ 14 w 122"/>
              <a:gd name="T45" fmla="*/ 37 h 225"/>
              <a:gd name="T46" fmla="*/ 8 w 122"/>
              <a:gd name="T47" fmla="*/ 30 h 225"/>
              <a:gd name="T48" fmla="*/ 120 w 122"/>
              <a:gd name="T49" fmla="*/ 101 h 225"/>
              <a:gd name="T50" fmla="*/ 105 w 122"/>
              <a:gd name="T51" fmla="*/ 90 h 225"/>
              <a:gd name="T52" fmla="*/ 72 w 122"/>
              <a:gd name="T53" fmla="*/ 110 h 225"/>
              <a:gd name="T54" fmla="*/ 55 w 122"/>
              <a:gd name="T55" fmla="*/ 138 h 225"/>
              <a:gd name="T56" fmla="*/ 53 w 122"/>
              <a:gd name="T57" fmla="*/ 99 h 225"/>
              <a:gd name="T58" fmla="*/ 119 w 122"/>
              <a:gd name="T59" fmla="*/ 76 h 225"/>
              <a:gd name="T60" fmla="*/ 119 w 122"/>
              <a:gd name="T61" fmla="*/ 64 h 225"/>
              <a:gd name="T62" fmla="*/ 9 w 122"/>
              <a:gd name="T63" fmla="*/ 85 h 225"/>
              <a:gd name="T64" fmla="*/ 1 w 122"/>
              <a:gd name="T65" fmla="*/ 97 h 225"/>
              <a:gd name="T66" fmla="*/ 3 w 122"/>
              <a:gd name="T67" fmla="*/ 102 h 225"/>
              <a:gd name="T68" fmla="*/ 11 w 122"/>
              <a:gd name="T69" fmla="*/ 110 h 225"/>
              <a:gd name="T70" fmla="*/ 28 w 122"/>
              <a:gd name="T71" fmla="*/ 121 h 225"/>
              <a:gd name="T72" fmla="*/ 17 w 122"/>
              <a:gd name="T73" fmla="*/ 138 h 225"/>
              <a:gd name="T74" fmla="*/ 40 w 122"/>
              <a:gd name="T75" fmla="*/ 209 h 225"/>
              <a:gd name="T76" fmla="*/ 53 w 122"/>
              <a:gd name="T77" fmla="*/ 225 h 225"/>
              <a:gd name="T78" fmla="*/ 87 w 122"/>
              <a:gd name="T79" fmla="*/ 214 h 225"/>
              <a:gd name="T80" fmla="*/ 110 w 122"/>
              <a:gd name="T81" fmla="*/ 187 h 225"/>
              <a:gd name="T82" fmla="*/ 99 w 122"/>
              <a:gd name="T83" fmla="*/ 138 h 225"/>
              <a:gd name="T84" fmla="*/ 104 w 122"/>
              <a:gd name="T85" fmla="*/ 117 h 225"/>
              <a:gd name="T86" fmla="*/ 120 w 122"/>
              <a:gd name="T87" fmla="*/ 101 h 225"/>
              <a:gd name="T88" fmla="*/ 47 w 122"/>
              <a:gd name="T89" fmla="*/ 101 h 225"/>
              <a:gd name="T90" fmla="*/ 49 w 122"/>
              <a:gd name="T91" fmla="*/ 138 h 225"/>
              <a:gd name="T92" fmla="*/ 35 w 122"/>
              <a:gd name="T93" fmla="*/ 121 h 225"/>
              <a:gd name="T94" fmla="*/ 24 w 122"/>
              <a:gd name="T95" fmla="*/ 108 h 225"/>
              <a:gd name="T96" fmla="*/ 12 w 122"/>
              <a:gd name="T97" fmla="*/ 104 h 225"/>
              <a:gd name="T98" fmla="*/ 8 w 122"/>
              <a:gd name="T99" fmla="*/ 97 h 225"/>
              <a:gd name="T100" fmla="*/ 8 w 122"/>
              <a:gd name="T101" fmla="*/ 93 h 225"/>
              <a:gd name="T102" fmla="*/ 12 w 122"/>
              <a:gd name="T103" fmla="*/ 90 h 225"/>
              <a:gd name="T104" fmla="*/ 24 w 122"/>
              <a:gd name="T105" fmla="*/ 86 h 225"/>
              <a:gd name="T106" fmla="*/ 108 w 122"/>
              <a:gd name="T107" fmla="*/ 62 h 225"/>
              <a:gd name="T108" fmla="*/ 114 w 122"/>
              <a:gd name="T109" fmla="*/ 69 h 225"/>
              <a:gd name="T110" fmla="*/ 111 w 122"/>
              <a:gd name="T111" fmla="*/ 76 h 225"/>
              <a:gd name="T112" fmla="*/ 43 w 122"/>
              <a:gd name="T113" fmla="*/ 98 h 225"/>
              <a:gd name="T114" fmla="*/ 103 w 122"/>
              <a:gd name="T115" fmla="*/ 111 h 225"/>
              <a:gd name="T116" fmla="*/ 92 w 122"/>
              <a:gd name="T117" fmla="*/ 138 h 225"/>
              <a:gd name="T118" fmla="*/ 78 w 122"/>
              <a:gd name="T119" fmla="*/ 110 h 225"/>
              <a:gd name="T120" fmla="*/ 106 w 122"/>
              <a:gd name="T121" fmla="*/ 96 h 225"/>
              <a:gd name="T122" fmla="*/ 114 w 122"/>
              <a:gd name="T123" fmla="*/ 10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2" h="225">
                <a:moveTo>
                  <a:pt x="3" y="57"/>
                </a:moveTo>
                <a:cubicBezTo>
                  <a:pt x="1" y="59"/>
                  <a:pt x="1" y="62"/>
                  <a:pt x="2" y="65"/>
                </a:cubicBezTo>
                <a:cubicBezTo>
                  <a:pt x="3" y="69"/>
                  <a:pt x="3" y="69"/>
                  <a:pt x="3" y="69"/>
                </a:cubicBezTo>
                <a:cubicBezTo>
                  <a:pt x="4" y="74"/>
                  <a:pt x="9" y="77"/>
                  <a:pt x="14" y="77"/>
                </a:cubicBezTo>
                <a:cubicBezTo>
                  <a:pt x="14" y="77"/>
                  <a:pt x="14" y="77"/>
                  <a:pt x="14" y="77"/>
                </a:cubicBezTo>
                <a:cubicBezTo>
                  <a:pt x="15" y="77"/>
                  <a:pt x="16" y="77"/>
                  <a:pt x="17" y="76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5" y="47"/>
                  <a:pt x="118" y="45"/>
                  <a:pt x="119" y="42"/>
                </a:cubicBezTo>
                <a:cubicBezTo>
                  <a:pt x="120" y="40"/>
                  <a:pt x="121" y="37"/>
                  <a:pt x="120" y="34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17" y="25"/>
                  <a:pt x="113" y="22"/>
                  <a:pt x="108" y="22"/>
                </a:cubicBezTo>
                <a:cubicBezTo>
                  <a:pt x="107" y="22"/>
                  <a:pt x="106" y="22"/>
                  <a:pt x="105" y="23"/>
                </a:cubicBezTo>
                <a:cubicBezTo>
                  <a:pt x="9" y="51"/>
                  <a:pt x="9" y="51"/>
                  <a:pt x="9" y="51"/>
                </a:cubicBezTo>
                <a:cubicBezTo>
                  <a:pt x="6" y="52"/>
                  <a:pt x="4" y="54"/>
                  <a:pt x="3" y="57"/>
                </a:cubicBezTo>
                <a:close/>
                <a:moveTo>
                  <a:pt x="106" y="28"/>
                </a:moveTo>
                <a:cubicBezTo>
                  <a:pt x="107" y="28"/>
                  <a:pt x="107" y="28"/>
                  <a:pt x="108" y="28"/>
                </a:cubicBezTo>
                <a:cubicBezTo>
                  <a:pt x="110" y="28"/>
                  <a:pt x="112" y="30"/>
                  <a:pt x="113" y="32"/>
                </a:cubicBezTo>
                <a:cubicBezTo>
                  <a:pt x="114" y="35"/>
                  <a:pt x="114" y="35"/>
                  <a:pt x="114" y="35"/>
                </a:cubicBezTo>
                <a:cubicBezTo>
                  <a:pt x="115" y="37"/>
                  <a:pt x="114" y="38"/>
                  <a:pt x="114" y="40"/>
                </a:cubicBezTo>
                <a:cubicBezTo>
                  <a:pt x="113" y="41"/>
                  <a:pt x="112" y="42"/>
                  <a:pt x="111" y="42"/>
                </a:cubicBezTo>
                <a:cubicBezTo>
                  <a:pt x="15" y="71"/>
                  <a:pt x="15" y="71"/>
                  <a:pt x="15" y="71"/>
                </a:cubicBezTo>
                <a:cubicBezTo>
                  <a:pt x="15" y="71"/>
                  <a:pt x="14" y="71"/>
                  <a:pt x="14" y="71"/>
                </a:cubicBezTo>
                <a:cubicBezTo>
                  <a:pt x="14" y="71"/>
                  <a:pt x="14" y="71"/>
                  <a:pt x="14" y="71"/>
                </a:cubicBezTo>
                <a:cubicBezTo>
                  <a:pt x="11" y="71"/>
                  <a:pt x="9" y="69"/>
                  <a:pt x="9" y="67"/>
                </a:cubicBezTo>
                <a:cubicBezTo>
                  <a:pt x="8" y="63"/>
                  <a:pt x="8" y="63"/>
                  <a:pt x="8" y="63"/>
                </a:cubicBezTo>
                <a:cubicBezTo>
                  <a:pt x="7" y="62"/>
                  <a:pt x="7" y="61"/>
                  <a:pt x="8" y="59"/>
                </a:cubicBezTo>
                <a:cubicBezTo>
                  <a:pt x="9" y="58"/>
                  <a:pt x="10" y="57"/>
                  <a:pt x="11" y="57"/>
                </a:cubicBezTo>
                <a:lnTo>
                  <a:pt x="106" y="28"/>
                </a:lnTo>
                <a:close/>
                <a:moveTo>
                  <a:pt x="3" y="35"/>
                </a:moveTo>
                <a:cubicBezTo>
                  <a:pt x="4" y="40"/>
                  <a:pt x="9" y="43"/>
                  <a:pt x="14" y="43"/>
                </a:cubicBezTo>
                <a:cubicBezTo>
                  <a:pt x="15" y="43"/>
                  <a:pt x="16" y="43"/>
                  <a:pt x="17" y="43"/>
                </a:cubicBezTo>
                <a:cubicBezTo>
                  <a:pt x="66" y="28"/>
                  <a:pt x="66" y="28"/>
                  <a:pt x="66" y="28"/>
                </a:cubicBezTo>
                <a:cubicBezTo>
                  <a:pt x="72" y="26"/>
                  <a:pt x="76" y="19"/>
                  <a:pt x="74" y="13"/>
                </a:cubicBezTo>
                <a:cubicBezTo>
                  <a:pt x="73" y="10"/>
                  <a:pt x="73" y="10"/>
                  <a:pt x="73" y="10"/>
                </a:cubicBezTo>
                <a:cubicBezTo>
                  <a:pt x="71" y="4"/>
                  <a:pt x="65" y="0"/>
                  <a:pt x="59" y="2"/>
                </a:cubicBezTo>
                <a:cubicBezTo>
                  <a:pt x="9" y="17"/>
                  <a:pt x="9" y="17"/>
                  <a:pt x="9" y="17"/>
                </a:cubicBezTo>
                <a:cubicBezTo>
                  <a:pt x="3" y="19"/>
                  <a:pt x="0" y="25"/>
                  <a:pt x="2" y="31"/>
                </a:cubicBezTo>
                <a:lnTo>
                  <a:pt x="3" y="35"/>
                </a:lnTo>
                <a:close/>
                <a:moveTo>
                  <a:pt x="11" y="23"/>
                </a:moveTo>
                <a:cubicBezTo>
                  <a:pt x="61" y="8"/>
                  <a:pt x="61" y="8"/>
                  <a:pt x="61" y="8"/>
                </a:cubicBezTo>
                <a:cubicBezTo>
                  <a:pt x="61" y="8"/>
                  <a:pt x="62" y="8"/>
                  <a:pt x="62" y="8"/>
                </a:cubicBezTo>
                <a:cubicBezTo>
                  <a:pt x="64" y="8"/>
                  <a:pt x="67" y="9"/>
                  <a:pt x="67" y="12"/>
                </a:cubicBezTo>
                <a:cubicBezTo>
                  <a:pt x="68" y="15"/>
                  <a:pt x="68" y="15"/>
                  <a:pt x="68" y="15"/>
                </a:cubicBezTo>
                <a:cubicBezTo>
                  <a:pt x="69" y="18"/>
                  <a:pt x="68" y="21"/>
                  <a:pt x="65" y="22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4" y="37"/>
                  <a:pt x="14" y="37"/>
                </a:cubicBezTo>
                <a:cubicBezTo>
                  <a:pt x="11" y="37"/>
                  <a:pt x="9" y="36"/>
                  <a:pt x="9" y="33"/>
                </a:cubicBezTo>
                <a:cubicBezTo>
                  <a:pt x="8" y="30"/>
                  <a:pt x="8" y="30"/>
                  <a:pt x="8" y="30"/>
                </a:cubicBezTo>
                <a:cubicBezTo>
                  <a:pt x="7" y="27"/>
                  <a:pt x="8" y="24"/>
                  <a:pt x="11" y="23"/>
                </a:cubicBezTo>
                <a:close/>
                <a:moveTo>
                  <a:pt x="120" y="101"/>
                </a:moveTo>
                <a:cubicBezTo>
                  <a:pt x="119" y="97"/>
                  <a:pt x="119" y="97"/>
                  <a:pt x="119" y="97"/>
                </a:cubicBezTo>
                <a:cubicBezTo>
                  <a:pt x="117" y="92"/>
                  <a:pt x="110" y="88"/>
                  <a:pt x="105" y="90"/>
                </a:cubicBezTo>
                <a:cubicBezTo>
                  <a:pt x="82" y="96"/>
                  <a:pt x="82" y="96"/>
                  <a:pt x="82" y="96"/>
                </a:cubicBezTo>
                <a:cubicBezTo>
                  <a:pt x="76" y="98"/>
                  <a:pt x="72" y="104"/>
                  <a:pt x="72" y="110"/>
                </a:cubicBezTo>
                <a:cubicBezTo>
                  <a:pt x="72" y="138"/>
                  <a:pt x="72" y="138"/>
                  <a:pt x="72" y="138"/>
                </a:cubicBezTo>
                <a:cubicBezTo>
                  <a:pt x="55" y="138"/>
                  <a:pt x="55" y="138"/>
                  <a:pt x="55" y="138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5" y="104"/>
                  <a:pt x="54" y="101"/>
                  <a:pt x="53" y="99"/>
                </a:cubicBezTo>
                <a:cubicBezTo>
                  <a:pt x="112" y="82"/>
                  <a:pt x="112" y="82"/>
                  <a:pt x="112" y="82"/>
                </a:cubicBezTo>
                <a:cubicBezTo>
                  <a:pt x="115" y="81"/>
                  <a:pt x="118" y="79"/>
                  <a:pt x="119" y="76"/>
                </a:cubicBezTo>
                <a:cubicBezTo>
                  <a:pt x="120" y="73"/>
                  <a:pt x="121" y="70"/>
                  <a:pt x="120" y="67"/>
                </a:cubicBezTo>
                <a:cubicBezTo>
                  <a:pt x="119" y="64"/>
                  <a:pt x="119" y="64"/>
                  <a:pt x="119" y="64"/>
                </a:cubicBezTo>
                <a:cubicBezTo>
                  <a:pt x="117" y="58"/>
                  <a:pt x="110" y="54"/>
                  <a:pt x="105" y="56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6"/>
                  <a:pt x="4" y="88"/>
                  <a:pt x="3" y="90"/>
                </a:cubicBezTo>
                <a:cubicBezTo>
                  <a:pt x="1" y="92"/>
                  <a:pt x="1" y="95"/>
                  <a:pt x="1" y="97"/>
                </a:cubicBezTo>
                <a:cubicBezTo>
                  <a:pt x="2" y="98"/>
                  <a:pt x="2" y="98"/>
                  <a:pt x="2" y="99"/>
                </a:cubicBezTo>
                <a:cubicBezTo>
                  <a:pt x="3" y="102"/>
                  <a:pt x="3" y="102"/>
                  <a:pt x="3" y="102"/>
                </a:cubicBezTo>
                <a:cubicBezTo>
                  <a:pt x="4" y="106"/>
                  <a:pt x="7" y="109"/>
                  <a:pt x="10" y="110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23" y="113"/>
                  <a:pt x="23" y="113"/>
                  <a:pt x="23" y="113"/>
                </a:cubicBezTo>
                <a:cubicBezTo>
                  <a:pt x="26" y="114"/>
                  <a:pt x="28" y="118"/>
                  <a:pt x="28" y="121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17" y="138"/>
                  <a:pt x="17" y="138"/>
                  <a:pt x="17" y="138"/>
                </a:cubicBezTo>
                <a:cubicBezTo>
                  <a:pt x="17" y="187"/>
                  <a:pt x="17" y="187"/>
                  <a:pt x="17" y="187"/>
                </a:cubicBezTo>
                <a:cubicBezTo>
                  <a:pt x="17" y="199"/>
                  <a:pt x="28" y="208"/>
                  <a:pt x="40" y="209"/>
                </a:cubicBezTo>
                <a:cubicBezTo>
                  <a:pt x="40" y="214"/>
                  <a:pt x="40" y="214"/>
                  <a:pt x="40" y="214"/>
                </a:cubicBezTo>
                <a:cubicBezTo>
                  <a:pt x="40" y="220"/>
                  <a:pt x="46" y="225"/>
                  <a:pt x="53" y="225"/>
                </a:cubicBezTo>
                <a:cubicBezTo>
                  <a:pt x="74" y="225"/>
                  <a:pt x="74" y="225"/>
                  <a:pt x="74" y="225"/>
                </a:cubicBezTo>
                <a:cubicBezTo>
                  <a:pt x="81" y="225"/>
                  <a:pt x="87" y="220"/>
                  <a:pt x="87" y="214"/>
                </a:cubicBezTo>
                <a:cubicBezTo>
                  <a:pt x="87" y="209"/>
                  <a:pt x="87" y="209"/>
                  <a:pt x="87" y="209"/>
                </a:cubicBezTo>
                <a:cubicBezTo>
                  <a:pt x="99" y="208"/>
                  <a:pt x="110" y="199"/>
                  <a:pt x="110" y="187"/>
                </a:cubicBezTo>
                <a:cubicBezTo>
                  <a:pt x="110" y="138"/>
                  <a:pt x="110" y="138"/>
                  <a:pt x="110" y="138"/>
                </a:cubicBezTo>
                <a:cubicBezTo>
                  <a:pt x="99" y="138"/>
                  <a:pt x="99" y="138"/>
                  <a:pt x="99" y="138"/>
                </a:cubicBezTo>
                <a:cubicBezTo>
                  <a:pt x="99" y="125"/>
                  <a:pt x="99" y="125"/>
                  <a:pt x="99" y="125"/>
                </a:cubicBezTo>
                <a:cubicBezTo>
                  <a:pt x="99" y="122"/>
                  <a:pt x="101" y="118"/>
                  <a:pt x="104" y="117"/>
                </a:cubicBezTo>
                <a:cubicBezTo>
                  <a:pt x="112" y="115"/>
                  <a:pt x="112" y="115"/>
                  <a:pt x="112" y="115"/>
                </a:cubicBezTo>
                <a:cubicBezTo>
                  <a:pt x="118" y="113"/>
                  <a:pt x="122" y="107"/>
                  <a:pt x="120" y="101"/>
                </a:cubicBezTo>
                <a:close/>
                <a:moveTo>
                  <a:pt x="43" y="98"/>
                </a:moveTo>
                <a:cubicBezTo>
                  <a:pt x="45" y="99"/>
                  <a:pt x="46" y="100"/>
                  <a:pt x="47" y="101"/>
                </a:cubicBezTo>
                <a:cubicBezTo>
                  <a:pt x="48" y="103"/>
                  <a:pt x="49" y="104"/>
                  <a:pt x="49" y="106"/>
                </a:cubicBezTo>
                <a:cubicBezTo>
                  <a:pt x="49" y="138"/>
                  <a:pt x="49" y="138"/>
                  <a:pt x="49" y="138"/>
                </a:cubicBezTo>
                <a:cubicBezTo>
                  <a:pt x="35" y="138"/>
                  <a:pt x="35" y="138"/>
                  <a:pt x="35" y="138"/>
                </a:cubicBezTo>
                <a:cubicBezTo>
                  <a:pt x="35" y="121"/>
                  <a:pt x="35" y="121"/>
                  <a:pt x="35" y="121"/>
                </a:cubicBezTo>
                <a:cubicBezTo>
                  <a:pt x="35" y="116"/>
                  <a:pt x="30" y="110"/>
                  <a:pt x="25" y="108"/>
                </a:cubicBezTo>
                <a:cubicBezTo>
                  <a:pt x="25" y="108"/>
                  <a:pt x="24" y="108"/>
                  <a:pt x="24" y="108"/>
                </a:cubicBezTo>
                <a:cubicBezTo>
                  <a:pt x="13" y="104"/>
                  <a:pt x="13" y="104"/>
                  <a:pt x="13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0" y="104"/>
                  <a:pt x="9" y="102"/>
                  <a:pt x="9" y="101"/>
                </a:cubicBezTo>
                <a:cubicBezTo>
                  <a:pt x="8" y="97"/>
                  <a:pt x="8" y="97"/>
                  <a:pt x="8" y="97"/>
                </a:cubicBezTo>
                <a:cubicBezTo>
                  <a:pt x="8" y="97"/>
                  <a:pt x="8" y="97"/>
                  <a:pt x="8" y="97"/>
                </a:cubicBezTo>
                <a:cubicBezTo>
                  <a:pt x="7" y="96"/>
                  <a:pt x="7" y="94"/>
                  <a:pt x="8" y="93"/>
                </a:cubicBezTo>
                <a:cubicBezTo>
                  <a:pt x="9" y="92"/>
                  <a:pt x="10" y="91"/>
                  <a:pt x="11" y="90"/>
                </a:cubicBezTo>
                <a:cubicBezTo>
                  <a:pt x="12" y="90"/>
                  <a:pt x="12" y="90"/>
                  <a:pt x="12" y="90"/>
                </a:cubicBezTo>
                <a:cubicBezTo>
                  <a:pt x="13" y="90"/>
                  <a:pt x="13" y="90"/>
                  <a:pt x="13" y="90"/>
                </a:cubicBezTo>
                <a:cubicBezTo>
                  <a:pt x="24" y="86"/>
                  <a:pt x="24" y="86"/>
                  <a:pt x="24" y="86"/>
                </a:cubicBezTo>
                <a:cubicBezTo>
                  <a:pt x="106" y="62"/>
                  <a:pt x="106" y="62"/>
                  <a:pt x="106" y="62"/>
                </a:cubicBezTo>
                <a:cubicBezTo>
                  <a:pt x="107" y="62"/>
                  <a:pt x="107" y="62"/>
                  <a:pt x="108" y="62"/>
                </a:cubicBezTo>
                <a:cubicBezTo>
                  <a:pt x="110" y="62"/>
                  <a:pt x="112" y="63"/>
                  <a:pt x="113" y="66"/>
                </a:cubicBezTo>
                <a:cubicBezTo>
                  <a:pt x="114" y="69"/>
                  <a:pt x="114" y="69"/>
                  <a:pt x="114" y="69"/>
                </a:cubicBezTo>
                <a:cubicBezTo>
                  <a:pt x="115" y="71"/>
                  <a:pt x="114" y="72"/>
                  <a:pt x="114" y="73"/>
                </a:cubicBezTo>
                <a:cubicBezTo>
                  <a:pt x="113" y="74"/>
                  <a:pt x="112" y="75"/>
                  <a:pt x="111" y="76"/>
                </a:cubicBezTo>
                <a:cubicBezTo>
                  <a:pt x="49" y="94"/>
                  <a:pt x="49" y="94"/>
                  <a:pt x="49" y="94"/>
                </a:cubicBezTo>
                <a:cubicBezTo>
                  <a:pt x="39" y="97"/>
                  <a:pt x="43" y="98"/>
                  <a:pt x="43" y="98"/>
                </a:cubicBezTo>
                <a:close/>
                <a:moveTo>
                  <a:pt x="111" y="109"/>
                </a:moveTo>
                <a:cubicBezTo>
                  <a:pt x="103" y="111"/>
                  <a:pt x="103" y="111"/>
                  <a:pt x="103" y="111"/>
                </a:cubicBezTo>
                <a:cubicBezTo>
                  <a:pt x="97" y="113"/>
                  <a:pt x="92" y="119"/>
                  <a:pt x="92" y="125"/>
                </a:cubicBezTo>
                <a:cubicBezTo>
                  <a:pt x="92" y="138"/>
                  <a:pt x="92" y="138"/>
                  <a:pt x="92" y="138"/>
                </a:cubicBezTo>
                <a:cubicBezTo>
                  <a:pt x="78" y="138"/>
                  <a:pt x="78" y="138"/>
                  <a:pt x="78" y="138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107"/>
                  <a:pt x="81" y="103"/>
                  <a:pt x="84" y="102"/>
                </a:cubicBezTo>
                <a:cubicBezTo>
                  <a:pt x="106" y="96"/>
                  <a:pt x="106" y="96"/>
                  <a:pt x="106" y="96"/>
                </a:cubicBezTo>
                <a:cubicBezTo>
                  <a:pt x="109" y="95"/>
                  <a:pt x="112" y="96"/>
                  <a:pt x="113" y="99"/>
                </a:cubicBezTo>
                <a:cubicBezTo>
                  <a:pt x="114" y="103"/>
                  <a:pt x="114" y="103"/>
                  <a:pt x="114" y="103"/>
                </a:cubicBezTo>
                <a:cubicBezTo>
                  <a:pt x="115" y="106"/>
                  <a:pt x="113" y="109"/>
                  <a:pt x="111" y="10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42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14478" y="360000"/>
            <a:ext cx="10810601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69875" y="1169988"/>
            <a:ext cx="11655425" cy="334962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749425"/>
            <a:ext cx="11655425" cy="5108575"/>
          </a:xfrm>
        </p:spPr>
        <p:txBody>
          <a:bodyPr/>
          <a:lstStyle>
            <a:lvl1pPr>
              <a:defRPr/>
            </a:lvl1pPr>
            <a:lvl2pPr marL="237600">
              <a:defRPr/>
            </a:lvl2pPr>
          </a:lstStyle>
          <a:p>
            <a:pPr lvl="0"/>
            <a:r>
              <a:rPr lang="en-US" dirty="0"/>
              <a:t>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 72"/>
          <p:cNvSpPr>
            <a:spLocks noEditPoints="1"/>
          </p:cNvSpPr>
          <p:nvPr userDrawn="1"/>
        </p:nvSpPr>
        <p:spPr bwMode="auto">
          <a:xfrm>
            <a:off x="467833" y="360000"/>
            <a:ext cx="646645" cy="647978"/>
          </a:xfrm>
          <a:custGeom>
            <a:avLst/>
            <a:gdLst>
              <a:gd name="T0" fmla="*/ 337 w 411"/>
              <a:gd name="T1" fmla="*/ 198 h 412"/>
              <a:gd name="T2" fmla="*/ 284 w 411"/>
              <a:gd name="T3" fmla="*/ 220 h 412"/>
              <a:gd name="T4" fmla="*/ 249 w 411"/>
              <a:gd name="T5" fmla="*/ 185 h 412"/>
              <a:gd name="T6" fmla="*/ 283 w 411"/>
              <a:gd name="T7" fmla="*/ 107 h 412"/>
              <a:gd name="T8" fmla="*/ 176 w 411"/>
              <a:gd name="T9" fmla="*/ 0 h 412"/>
              <a:gd name="T10" fmla="*/ 68 w 411"/>
              <a:gd name="T11" fmla="*/ 107 h 412"/>
              <a:gd name="T12" fmla="*/ 116 w 411"/>
              <a:gd name="T13" fmla="*/ 196 h 412"/>
              <a:gd name="T14" fmla="*/ 96 w 411"/>
              <a:gd name="T15" fmla="*/ 266 h 412"/>
              <a:gd name="T16" fmla="*/ 74 w 411"/>
              <a:gd name="T17" fmla="*/ 263 h 412"/>
              <a:gd name="T18" fmla="*/ 0 w 411"/>
              <a:gd name="T19" fmla="*/ 337 h 412"/>
              <a:gd name="T20" fmla="*/ 74 w 411"/>
              <a:gd name="T21" fmla="*/ 412 h 412"/>
              <a:gd name="T22" fmla="*/ 149 w 411"/>
              <a:gd name="T23" fmla="*/ 337 h 412"/>
              <a:gd name="T24" fmla="*/ 110 w 411"/>
              <a:gd name="T25" fmla="*/ 272 h 412"/>
              <a:gd name="T26" fmla="*/ 130 w 411"/>
              <a:gd name="T27" fmla="*/ 204 h 412"/>
              <a:gd name="T28" fmla="*/ 176 w 411"/>
              <a:gd name="T29" fmla="*/ 214 h 412"/>
              <a:gd name="T30" fmla="*/ 238 w 411"/>
              <a:gd name="T31" fmla="*/ 195 h 412"/>
              <a:gd name="T32" fmla="*/ 275 w 411"/>
              <a:gd name="T33" fmla="*/ 232 h 412"/>
              <a:gd name="T34" fmla="*/ 262 w 411"/>
              <a:gd name="T35" fmla="*/ 273 h 412"/>
              <a:gd name="T36" fmla="*/ 337 w 411"/>
              <a:gd name="T37" fmla="*/ 347 h 412"/>
              <a:gd name="T38" fmla="*/ 411 w 411"/>
              <a:gd name="T39" fmla="*/ 273 h 412"/>
              <a:gd name="T40" fmla="*/ 337 w 411"/>
              <a:gd name="T41" fmla="*/ 198 h 412"/>
              <a:gd name="T42" fmla="*/ 134 w 411"/>
              <a:gd name="T43" fmla="*/ 337 h 412"/>
              <a:gd name="T44" fmla="*/ 74 w 411"/>
              <a:gd name="T45" fmla="*/ 397 h 412"/>
              <a:gd name="T46" fmla="*/ 14 w 411"/>
              <a:gd name="T47" fmla="*/ 337 h 412"/>
              <a:gd name="T48" fmla="*/ 74 w 411"/>
              <a:gd name="T49" fmla="*/ 278 h 412"/>
              <a:gd name="T50" fmla="*/ 134 w 411"/>
              <a:gd name="T51" fmla="*/ 337 h 412"/>
              <a:gd name="T52" fmla="*/ 83 w 411"/>
              <a:gd name="T53" fmla="*/ 107 h 412"/>
              <a:gd name="T54" fmla="*/ 176 w 411"/>
              <a:gd name="T55" fmla="*/ 14 h 412"/>
              <a:gd name="T56" fmla="*/ 268 w 411"/>
              <a:gd name="T57" fmla="*/ 107 h 412"/>
              <a:gd name="T58" fmla="*/ 176 w 411"/>
              <a:gd name="T59" fmla="*/ 200 h 412"/>
              <a:gd name="T60" fmla="*/ 83 w 411"/>
              <a:gd name="T61" fmla="*/ 107 h 412"/>
              <a:gd name="T62" fmla="*/ 337 w 411"/>
              <a:gd name="T63" fmla="*/ 332 h 412"/>
              <a:gd name="T64" fmla="*/ 277 w 411"/>
              <a:gd name="T65" fmla="*/ 273 h 412"/>
              <a:gd name="T66" fmla="*/ 337 w 411"/>
              <a:gd name="T67" fmla="*/ 213 h 412"/>
              <a:gd name="T68" fmla="*/ 397 w 411"/>
              <a:gd name="T69" fmla="*/ 273 h 412"/>
              <a:gd name="T70" fmla="*/ 337 w 411"/>
              <a:gd name="T71" fmla="*/ 33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11" h="412">
                <a:moveTo>
                  <a:pt x="337" y="198"/>
                </a:moveTo>
                <a:cubicBezTo>
                  <a:pt x="316" y="198"/>
                  <a:pt x="298" y="206"/>
                  <a:pt x="284" y="220"/>
                </a:cubicBezTo>
                <a:cubicBezTo>
                  <a:pt x="249" y="185"/>
                  <a:pt x="249" y="185"/>
                  <a:pt x="249" y="185"/>
                </a:cubicBezTo>
                <a:cubicBezTo>
                  <a:pt x="270" y="166"/>
                  <a:pt x="283" y="138"/>
                  <a:pt x="283" y="107"/>
                </a:cubicBezTo>
                <a:cubicBezTo>
                  <a:pt x="283" y="48"/>
                  <a:pt x="235" y="0"/>
                  <a:pt x="176" y="0"/>
                </a:cubicBezTo>
                <a:cubicBezTo>
                  <a:pt x="117" y="0"/>
                  <a:pt x="68" y="48"/>
                  <a:pt x="68" y="107"/>
                </a:cubicBezTo>
                <a:cubicBezTo>
                  <a:pt x="68" y="144"/>
                  <a:pt x="88" y="177"/>
                  <a:pt x="116" y="196"/>
                </a:cubicBezTo>
                <a:cubicBezTo>
                  <a:pt x="96" y="266"/>
                  <a:pt x="96" y="266"/>
                  <a:pt x="96" y="266"/>
                </a:cubicBezTo>
                <a:cubicBezTo>
                  <a:pt x="89" y="264"/>
                  <a:pt x="82" y="263"/>
                  <a:pt x="74" y="263"/>
                </a:cubicBezTo>
                <a:cubicBezTo>
                  <a:pt x="33" y="263"/>
                  <a:pt x="0" y="296"/>
                  <a:pt x="0" y="337"/>
                </a:cubicBezTo>
                <a:cubicBezTo>
                  <a:pt x="0" y="378"/>
                  <a:pt x="33" y="412"/>
                  <a:pt x="74" y="412"/>
                </a:cubicBezTo>
                <a:cubicBezTo>
                  <a:pt x="115" y="412"/>
                  <a:pt x="149" y="378"/>
                  <a:pt x="149" y="337"/>
                </a:cubicBezTo>
                <a:cubicBezTo>
                  <a:pt x="149" y="309"/>
                  <a:pt x="133" y="284"/>
                  <a:pt x="110" y="272"/>
                </a:cubicBezTo>
                <a:cubicBezTo>
                  <a:pt x="130" y="204"/>
                  <a:pt x="130" y="204"/>
                  <a:pt x="130" y="204"/>
                </a:cubicBezTo>
                <a:cubicBezTo>
                  <a:pt x="144" y="210"/>
                  <a:pt x="159" y="214"/>
                  <a:pt x="176" y="214"/>
                </a:cubicBezTo>
                <a:cubicBezTo>
                  <a:pt x="199" y="214"/>
                  <a:pt x="220" y="207"/>
                  <a:pt x="238" y="195"/>
                </a:cubicBezTo>
                <a:cubicBezTo>
                  <a:pt x="275" y="232"/>
                  <a:pt x="275" y="232"/>
                  <a:pt x="275" y="232"/>
                </a:cubicBezTo>
                <a:cubicBezTo>
                  <a:pt x="267" y="243"/>
                  <a:pt x="262" y="257"/>
                  <a:pt x="262" y="273"/>
                </a:cubicBezTo>
                <a:cubicBezTo>
                  <a:pt x="262" y="314"/>
                  <a:pt x="296" y="347"/>
                  <a:pt x="337" y="347"/>
                </a:cubicBezTo>
                <a:cubicBezTo>
                  <a:pt x="378" y="347"/>
                  <a:pt x="411" y="314"/>
                  <a:pt x="411" y="273"/>
                </a:cubicBezTo>
                <a:cubicBezTo>
                  <a:pt x="411" y="231"/>
                  <a:pt x="378" y="198"/>
                  <a:pt x="337" y="198"/>
                </a:cubicBezTo>
                <a:close/>
                <a:moveTo>
                  <a:pt x="134" y="337"/>
                </a:moveTo>
                <a:cubicBezTo>
                  <a:pt x="134" y="370"/>
                  <a:pt x="107" y="397"/>
                  <a:pt x="74" y="397"/>
                </a:cubicBezTo>
                <a:cubicBezTo>
                  <a:pt x="41" y="397"/>
                  <a:pt x="14" y="370"/>
                  <a:pt x="14" y="337"/>
                </a:cubicBezTo>
                <a:cubicBezTo>
                  <a:pt x="14" y="304"/>
                  <a:pt x="41" y="278"/>
                  <a:pt x="74" y="278"/>
                </a:cubicBezTo>
                <a:cubicBezTo>
                  <a:pt x="107" y="278"/>
                  <a:pt x="134" y="304"/>
                  <a:pt x="134" y="337"/>
                </a:cubicBezTo>
                <a:close/>
                <a:moveTo>
                  <a:pt x="83" y="107"/>
                </a:moveTo>
                <a:cubicBezTo>
                  <a:pt x="83" y="56"/>
                  <a:pt x="125" y="14"/>
                  <a:pt x="176" y="14"/>
                </a:cubicBezTo>
                <a:cubicBezTo>
                  <a:pt x="227" y="14"/>
                  <a:pt x="268" y="56"/>
                  <a:pt x="268" y="107"/>
                </a:cubicBezTo>
                <a:cubicBezTo>
                  <a:pt x="268" y="158"/>
                  <a:pt x="227" y="200"/>
                  <a:pt x="176" y="200"/>
                </a:cubicBezTo>
                <a:cubicBezTo>
                  <a:pt x="125" y="200"/>
                  <a:pt x="83" y="158"/>
                  <a:pt x="83" y="107"/>
                </a:cubicBezTo>
                <a:close/>
                <a:moveTo>
                  <a:pt x="337" y="332"/>
                </a:moveTo>
                <a:cubicBezTo>
                  <a:pt x="304" y="332"/>
                  <a:pt x="277" y="306"/>
                  <a:pt x="277" y="273"/>
                </a:cubicBezTo>
                <a:cubicBezTo>
                  <a:pt x="277" y="240"/>
                  <a:pt x="304" y="213"/>
                  <a:pt x="337" y="213"/>
                </a:cubicBezTo>
                <a:cubicBezTo>
                  <a:pt x="370" y="213"/>
                  <a:pt x="397" y="240"/>
                  <a:pt x="397" y="273"/>
                </a:cubicBezTo>
                <a:cubicBezTo>
                  <a:pt x="397" y="306"/>
                  <a:pt x="370" y="332"/>
                  <a:pt x="337" y="3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903228"/>
            <a:ext cx="8067761" cy="19740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833" y="1259999"/>
            <a:ext cx="11355572" cy="2160000"/>
          </a:xfrm>
          <a:noFill/>
        </p:spPr>
        <p:txBody>
          <a:bodyPr tIns="91440" bIns="91440" anchor="t" anchorCtr="0"/>
          <a:lstStyle>
            <a:lvl1pPr>
              <a:defRPr sz="60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58875" y="209726"/>
            <a:ext cx="10664530" cy="464882"/>
          </a:xfrm>
          <a:prstGeom prst="rect">
            <a:avLst/>
          </a:prstGeom>
          <a:noFill/>
        </p:spPr>
        <p:txBody>
          <a:bodyPr wrap="square" lIns="183600" tIns="0" rIns="18288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monstration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58875" y="641094"/>
            <a:ext cx="10664529" cy="367648"/>
          </a:xfrm>
        </p:spPr>
        <p:txBody>
          <a:bodyPr tIns="0" rIns="0" bIns="0" anchor="ctr">
            <a:no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Demo cod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7833" y="3594100"/>
            <a:ext cx="11355571" cy="2966188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4" indent="0">
              <a:buNone/>
              <a:defRPr/>
            </a:lvl5pPr>
          </a:lstStyle>
          <a:p>
            <a:pPr lvl="0"/>
            <a:r>
              <a:rPr lang="en-US" dirty="0"/>
              <a:t>Demo description</a:t>
            </a:r>
          </a:p>
        </p:txBody>
      </p:sp>
      <p:sp>
        <p:nvSpPr>
          <p:cNvPr id="11" name="Freeform 74"/>
          <p:cNvSpPr>
            <a:spLocks noEditPoints="1"/>
          </p:cNvSpPr>
          <p:nvPr userDrawn="1"/>
        </p:nvSpPr>
        <p:spPr bwMode="auto">
          <a:xfrm>
            <a:off x="467832" y="317061"/>
            <a:ext cx="646645" cy="649310"/>
          </a:xfrm>
          <a:custGeom>
            <a:avLst/>
            <a:gdLst>
              <a:gd name="T0" fmla="*/ 404 w 411"/>
              <a:gd name="T1" fmla="*/ 0 h 413"/>
              <a:gd name="T2" fmla="*/ 7 w 411"/>
              <a:gd name="T3" fmla="*/ 0 h 413"/>
              <a:gd name="T4" fmla="*/ 0 w 411"/>
              <a:gd name="T5" fmla="*/ 7 h 413"/>
              <a:gd name="T6" fmla="*/ 0 w 411"/>
              <a:gd name="T7" fmla="*/ 338 h 413"/>
              <a:gd name="T8" fmla="*/ 7 w 411"/>
              <a:gd name="T9" fmla="*/ 345 h 413"/>
              <a:gd name="T10" fmla="*/ 68 w 411"/>
              <a:gd name="T11" fmla="*/ 345 h 413"/>
              <a:gd name="T12" fmla="*/ 133 w 411"/>
              <a:gd name="T13" fmla="*/ 411 h 413"/>
              <a:gd name="T14" fmla="*/ 138 w 411"/>
              <a:gd name="T15" fmla="*/ 413 h 413"/>
              <a:gd name="T16" fmla="*/ 141 w 411"/>
              <a:gd name="T17" fmla="*/ 413 h 413"/>
              <a:gd name="T18" fmla="*/ 145 w 411"/>
              <a:gd name="T19" fmla="*/ 406 h 413"/>
              <a:gd name="T20" fmla="*/ 145 w 411"/>
              <a:gd name="T21" fmla="*/ 345 h 413"/>
              <a:gd name="T22" fmla="*/ 404 w 411"/>
              <a:gd name="T23" fmla="*/ 345 h 413"/>
              <a:gd name="T24" fmla="*/ 411 w 411"/>
              <a:gd name="T25" fmla="*/ 338 h 413"/>
              <a:gd name="T26" fmla="*/ 411 w 411"/>
              <a:gd name="T27" fmla="*/ 7 h 413"/>
              <a:gd name="T28" fmla="*/ 404 w 411"/>
              <a:gd name="T29" fmla="*/ 0 h 413"/>
              <a:gd name="T30" fmla="*/ 396 w 411"/>
              <a:gd name="T31" fmla="*/ 330 h 413"/>
              <a:gd name="T32" fmla="*/ 138 w 411"/>
              <a:gd name="T33" fmla="*/ 330 h 413"/>
              <a:gd name="T34" fmla="*/ 130 w 411"/>
              <a:gd name="T35" fmla="*/ 338 h 413"/>
              <a:gd name="T36" fmla="*/ 130 w 411"/>
              <a:gd name="T37" fmla="*/ 388 h 413"/>
              <a:gd name="T38" fmla="*/ 77 w 411"/>
              <a:gd name="T39" fmla="*/ 333 h 413"/>
              <a:gd name="T40" fmla="*/ 71 w 411"/>
              <a:gd name="T41" fmla="*/ 330 h 413"/>
              <a:gd name="T42" fmla="*/ 15 w 411"/>
              <a:gd name="T43" fmla="*/ 330 h 413"/>
              <a:gd name="T44" fmla="*/ 15 w 411"/>
              <a:gd name="T45" fmla="*/ 15 h 413"/>
              <a:gd name="T46" fmla="*/ 396 w 411"/>
              <a:gd name="T47" fmla="*/ 15 h 413"/>
              <a:gd name="T48" fmla="*/ 396 w 411"/>
              <a:gd name="T49" fmla="*/ 33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1" h="413">
                <a:moveTo>
                  <a:pt x="404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338"/>
                  <a:pt x="0" y="338"/>
                  <a:pt x="0" y="338"/>
                </a:cubicBezTo>
                <a:cubicBezTo>
                  <a:pt x="0" y="342"/>
                  <a:pt x="3" y="345"/>
                  <a:pt x="7" y="345"/>
                </a:cubicBezTo>
                <a:cubicBezTo>
                  <a:pt x="68" y="345"/>
                  <a:pt x="68" y="345"/>
                  <a:pt x="68" y="345"/>
                </a:cubicBezTo>
                <a:cubicBezTo>
                  <a:pt x="133" y="411"/>
                  <a:pt x="133" y="411"/>
                  <a:pt x="133" y="411"/>
                </a:cubicBezTo>
                <a:cubicBezTo>
                  <a:pt x="134" y="413"/>
                  <a:pt x="136" y="413"/>
                  <a:pt x="138" y="413"/>
                </a:cubicBezTo>
                <a:cubicBezTo>
                  <a:pt x="139" y="413"/>
                  <a:pt x="140" y="413"/>
                  <a:pt x="141" y="413"/>
                </a:cubicBezTo>
                <a:cubicBezTo>
                  <a:pt x="143" y="412"/>
                  <a:pt x="145" y="409"/>
                  <a:pt x="145" y="406"/>
                </a:cubicBezTo>
                <a:cubicBezTo>
                  <a:pt x="145" y="345"/>
                  <a:pt x="145" y="345"/>
                  <a:pt x="145" y="345"/>
                </a:cubicBezTo>
                <a:cubicBezTo>
                  <a:pt x="404" y="345"/>
                  <a:pt x="404" y="345"/>
                  <a:pt x="404" y="345"/>
                </a:cubicBezTo>
                <a:cubicBezTo>
                  <a:pt x="408" y="345"/>
                  <a:pt x="411" y="342"/>
                  <a:pt x="411" y="338"/>
                </a:cubicBezTo>
                <a:cubicBezTo>
                  <a:pt x="411" y="7"/>
                  <a:pt x="411" y="7"/>
                  <a:pt x="411" y="7"/>
                </a:cubicBezTo>
                <a:cubicBezTo>
                  <a:pt x="411" y="3"/>
                  <a:pt x="408" y="0"/>
                  <a:pt x="404" y="0"/>
                </a:cubicBezTo>
                <a:close/>
                <a:moveTo>
                  <a:pt x="396" y="330"/>
                </a:moveTo>
                <a:cubicBezTo>
                  <a:pt x="138" y="330"/>
                  <a:pt x="138" y="330"/>
                  <a:pt x="138" y="330"/>
                </a:cubicBezTo>
                <a:cubicBezTo>
                  <a:pt x="134" y="330"/>
                  <a:pt x="130" y="334"/>
                  <a:pt x="130" y="338"/>
                </a:cubicBezTo>
                <a:cubicBezTo>
                  <a:pt x="130" y="388"/>
                  <a:pt x="130" y="388"/>
                  <a:pt x="130" y="388"/>
                </a:cubicBezTo>
                <a:cubicBezTo>
                  <a:pt x="77" y="333"/>
                  <a:pt x="77" y="333"/>
                  <a:pt x="77" y="333"/>
                </a:cubicBezTo>
                <a:cubicBezTo>
                  <a:pt x="75" y="331"/>
                  <a:pt x="73" y="330"/>
                  <a:pt x="71" y="330"/>
                </a:cubicBezTo>
                <a:cubicBezTo>
                  <a:pt x="15" y="330"/>
                  <a:pt x="15" y="330"/>
                  <a:pt x="15" y="330"/>
                </a:cubicBezTo>
                <a:cubicBezTo>
                  <a:pt x="15" y="15"/>
                  <a:pt x="15" y="15"/>
                  <a:pt x="15" y="15"/>
                </a:cubicBezTo>
                <a:cubicBezTo>
                  <a:pt x="396" y="15"/>
                  <a:pt x="396" y="15"/>
                  <a:pt x="396" y="15"/>
                </a:cubicBezTo>
                <a:lnTo>
                  <a:pt x="396" y="33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05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903228"/>
            <a:ext cx="8067761" cy="19740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833" y="1259999"/>
            <a:ext cx="11355572" cy="2160000"/>
          </a:xfrm>
          <a:noFill/>
        </p:spPr>
        <p:txBody>
          <a:bodyPr tIns="91440" bIns="91440" anchor="t" anchorCtr="0"/>
          <a:lstStyle>
            <a:lvl1pPr>
              <a:defRPr sz="60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ab tit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58875" y="209726"/>
            <a:ext cx="10664530" cy="464882"/>
          </a:xfrm>
          <a:prstGeom prst="rect">
            <a:avLst/>
          </a:prstGeom>
          <a:noFill/>
        </p:spPr>
        <p:txBody>
          <a:bodyPr wrap="square" lIns="183600" tIns="0" rIns="18288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ands-on lab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7833" y="1068634"/>
            <a:ext cx="1122798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58875" y="641094"/>
            <a:ext cx="10664529" cy="367648"/>
          </a:xfrm>
        </p:spPr>
        <p:txBody>
          <a:bodyPr tIns="0" rIns="0" bIns="0" anchor="ctr">
            <a:no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Lab code | Minut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7833" y="3594100"/>
            <a:ext cx="6018027" cy="2966188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4" indent="0">
              <a:buNone/>
              <a:defRPr/>
            </a:lvl5pPr>
          </a:lstStyle>
          <a:p>
            <a:pPr lvl="0"/>
            <a:r>
              <a:rPr lang="en-US" dirty="0"/>
              <a:t>Lab description</a:t>
            </a:r>
          </a:p>
        </p:txBody>
      </p:sp>
      <p:sp>
        <p:nvSpPr>
          <p:cNvPr id="9" name="Freeform 88"/>
          <p:cNvSpPr>
            <a:spLocks noEditPoints="1"/>
          </p:cNvSpPr>
          <p:nvPr userDrawn="1"/>
        </p:nvSpPr>
        <p:spPr bwMode="auto">
          <a:xfrm>
            <a:off x="467833" y="288383"/>
            <a:ext cx="651308" cy="651308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90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159473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200795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1" b="970"/>
          <a:stretch/>
        </p:blipFill>
        <p:spPr>
          <a:xfrm>
            <a:off x="0" y="0"/>
            <a:ext cx="12200028" cy="688206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52849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8" t="16947" r="68" b="15692"/>
          <a:stretch/>
        </p:blipFill>
        <p:spPr>
          <a:xfrm>
            <a:off x="623" y="-623"/>
            <a:ext cx="12191377" cy="685862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644611" y="2103818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850" y="2103817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231" y="3896902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057" y="6043943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3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5" b="8152"/>
          <a:stretch/>
        </p:blipFill>
        <p:spPr>
          <a:xfrm>
            <a:off x="0" y="-1"/>
            <a:ext cx="12192000" cy="683393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327567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284863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3347" y="414670"/>
            <a:ext cx="6053269" cy="3955311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no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</p:spTree>
    <p:extLst>
      <p:ext uri="{BB962C8B-B14F-4D97-AF65-F5344CB8AC3E}">
        <p14:creationId xmlns:p14="http://schemas.microsoft.com/office/powerpoint/2010/main" val="208286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4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0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0438" y="322397"/>
            <a:ext cx="6053269" cy="11818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Power BI Technical Reference Deck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41111" y="2532576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741111" y="1768344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vel 300</a:t>
            </a:r>
          </a:p>
        </p:txBody>
      </p:sp>
    </p:spTree>
    <p:extLst>
      <p:ext uri="{BB962C8B-B14F-4D97-AF65-F5344CB8AC3E}">
        <p14:creationId xmlns:p14="http://schemas.microsoft.com/office/powerpoint/2010/main" val="237306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reeform 16"/>
          <p:cNvSpPr>
            <a:spLocks/>
          </p:cNvSpPr>
          <p:nvPr userDrawn="1"/>
        </p:nvSpPr>
        <p:spPr bwMode="auto">
          <a:xfrm>
            <a:off x="0" y="3953546"/>
            <a:ext cx="5548185" cy="2904455"/>
          </a:xfrm>
          <a:custGeom>
            <a:avLst/>
            <a:gdLst>
              <a:gd name="T0" fmla="*/ 128 w 3565"/>
              <a:gd name="T1" fmla="*/ 957 h 1866"/>
              <a:gd name="T2" fmla="*/ 187 w 3565"/>
              <a:gd name="T3" fmla="*/ 982 h 1866"/>
              <a:gd name="T4" fmla="*/ 246 w 3565"/>
              <a:gd name="T5" fmla="*/ 909 h 1866"/>
              <a:gd name="T6" fmla="*/ 463 w 3565"/>
              <a:gd name="T7" fmla="*/ 816 h 1866"/>
              <a:gd name="T8" fmla="*/ 501 w 3565"/>
              <a:gd name="T9" fmla="*/ 874 h 1866"/>
              <a:gd name="T10" fmla="*/ 543 w 3565"/>
              <a:gd name="T11" fmla="*/ 926 h 1866"/>
              <a:gd name="T12" fmla="*/ 632 w 3565"/>
              <a:gd name="T13" fmla="*/ 677 h 1866"/>
              <a:gd name="T14" fmla="*/ 774 w 3565"/>
              <a:gd name="T15" fmla="*/ 719 h 1866"/>
              <a:gd name="T16" fmla="*/ 822 w 3565"/>
              <a:gd name="T17" fmla="*/ 771 h 1866"/>
              <a:gd name="T18" fmla="*/ 1040 w 3565"/>
              <a:gd name="T19" fmla="*/ 691 h 1866"/>
              <a:gd name="T20" fmla="*/ 1151 w 3565"/>
              <a:gd name="T21" fmla="*/ 823 h 1866"/>
              <a:gd name="T22" fmla="*/ 1209 w 3565"/>
              <a:gd name="T23" fmla="*/ 608 h 1866"/>
              <a:gd name="T24" fmla="*/ 1251 w 3565"/>
              <a:gd name="T25" fmla="*/ 543 h 1866"/>
              <a:gd name="T26" fmla="*/ 1372 w 3565"/>
              <a:gd name="T27" fmla="*/ 608 h 1866"/>
              <a:gd name="T28" fmla="*/ 1413 w 3565"/>
              <a:gd name="T29" fmla="*/ 567 h 1866"/>
              <a:gd name="T30" fmla="*/ 1458 w 3565"/>
              <a:gd name="T31" fmla="*/ 629 h 1866"/>
              <a:gd name="T32" fmla="*/ 1510 w 3565"/>
              <a:gd name="T33" fmla="*/ 871 h 1866"/>
              <a:gd name="T34" fmla="*/ 1548 w 3565"/>
              <a:gd name="T35" fmla="*/ 608 h 1866"/>
              <a:gd name="T36" fmla="*/ 1600 w 3565"/>
              <a:gd name="T37" fmla="*/ 563 h 1866"/>
              <a:gd name="T38" fmla="*/ 1627 w 3565"/>
              <a:gd name="T39" fmla="*/ 619 h 1866"/>
              <a:gd name="T40" fmla="*/ 1648 w 3565"/>
              <a:gd name="T41" fmla="*/ 764 h 1866"/>
              <a:gd name="T42" fmla="*/ 1683 w 3565"/>
              <a:gd name="T43" fmla="*/ 950 h 1866"/>
              <a:gd name="T44" fmla="*/ 1721 w 3565"/>
              <a:gd name="T45" fmla="*/ 847 h 1866"/>
              <a:gd name="T46" fmla="*/ 1752 w 3565"/>
              <a:gd name="T47" fmla="*/ 536 h 1866"/>
              <a:gd name="T48" fmla="*/ 2038 w 3565"/>
              <a:gd name="T49" fmla="*/ 456 h 1866"/>
              <a:gd name="T50" fmla="*/ 2059 w 3565"/>
              <a:gd name="T51" fmla="*/ 539 h 1866"/>
              <a:gd name="T52" fmla="*/ 2173 w 3565"/>
              <a:gd name="T53" fmla="*/ 246 h 1866"/>
              <a:gd name="T54" fmla="*/ 2252 w 3565"/>
              <a:gd name="T55" fmla="*/ 201 h 1866"/>
              <a:gd name="T56" fmla="*/ 2287 w 3565"/>
              <a:gd name="T57" fmla="*/ 259 h 1866"/>
              <a:gd name="T58" fmla="*/ 2356 w 3565"/>
              <a:gd name="T59" fmla="*/ 843 h 1866"/>
              <a:gd name="T60" fmla="*/ 2384 w 3565"/>
              <a:gd name="T61" fmla="*/ 612 h 1866"/>
              <a:gd name="T62" fmla="*/ 2398 w 3565"/>
              <a:gd name="T63" fmla="*/ 432 h 1866"/>
              <a:gd name="T64" fmla="*/ 2436 w 3565"/>
              <a:gd name="T65" fmla="*/ 139 h 1866"/>
              <a:gd name="T66" fmla="*/ 2567 w 3565"/>
              <a:gd name="T67" fmla="*/ 0 h 1866"/>
              <a:gd name="T68" fmla="*/ 2598 w 3565"/>
              <a:gd name="T69" fmla="*/ 121 h 1866"/>
              <a:gd name="T70" fmla="*/ 2629 w 3565"/>
              <a:gd name="T71" fmla="*/ 173 h 1866"/>
              <a:gd name="T72" fmla="*/ 2670 w 3565"/>
              <a:gd name="T73" fmla="*/ 491 h 1866"/>
              <a:gd name="T74" fmla="*/ 2988 w 3565"/>
              <a:gd name="T75" fmla="*/ 346 h 1866"/>
              <a:gd name="T76" fmla="*/ 3071 w 3565"/>
              <a:gd name="T77" fmla="*/ 532 h 1866"/>
              <a:gd name="T78" fmla="*/ 3126 w 3565"/>
              <a:gd name="T79" fmla="*/ 498 h 1866"/>
              <a:gd name="T80" fmla="*/ 3233 w 3565"/>
              <a:gd name="T81" fmla="*/ 550 h 1866"/>
              <a:gd name="T82" fmla="*/ 3320 w 3565"/>
              <a:gd name="T83" fmla="*/ 463 h 1866"/>
              <a:gd name="T84" fmla="*/ 3382 w 3565"/>
              <a:gd name="T85" fmla="*/ 398 h 1866"/>
              <a:gd name="T86" fmla="*/ 3565 w 3565"/>
              <a:gd name="T87" fmla="*/ 446 h 1866"/>
              <a:gd name="T88" fmla="*/ 3565 w 3565"/>
              <a:gd name="T89" fmla="*/ 1866 h 1866"/>
              <a:gd name="T90" fmla="*/ 0 w 3565"/>
              <a:gd name="T91" fmla="*/ 957 h 1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65" h="1866">
                <a:moveTo>
                  <a:pt x="0" y="957"/>
                </a:moveTo>
                <a:lnTo>
                  <a:pt x="128" y="957"/>
                </a:lnTo>
                <a:lnTo>
                  <a:pt x="128" y="982"/>
                </a:lnTo>
                <a:lnTo>
                  <a:pt x="187" y="982"/>
                </a:lnTo>
                <a:lnTo>
                  <a:pt x="187" y="909"/>
                </a:lnTo>
                <a:lnTo>
                  <a:pt x="246" y="909"/>
                </a:lnTo>
                <a:lnTo>
                  <a:pt x="246" y="816"/>
                </a:lnTo>
                <a:lnTo>
                  <a:pt x="463" y="816"/>
                </a:lnTo>
                <a:lnTo>
                  <a:pt x="463" y="874"/>
                </a:lnTo>
                <a:lnTo>
                  <a:pt x="501" y="874"/>
                </a:lnTo>
                <a:lnTo>
                  <a:pt x="501" y="926"/>
                </a:lnTo>
                <a:lnTo>
                  <a:pt x="543" y="926"/>
                </a:lnTo>
                <a:lnTo>
                  <a:pt x="543" y="677"/>
                </a:lnTo>
                <a:lnTo>
                  <a:pt x="632" y="677"/>
                </a:lnTo>
                <a:lnTo>
                  <a:pt x="632" y="719"/>
                </a:lnTo>
                <a:lnTo>
                  <a:pt x="774" y="719"/>
                </a:lnTo>
                <a:lnTo>
                  <a:pt x="774" y="771"/>
                </a:lnTo>
                <a:lnTo>
                  <a:pt x="822" y="771"/>
                </a:lnTo>
                <a:lnTo>
                  <a:pt x="822" y="691"/>
                </a:lnTo>
                <a:lnTo>
                  <a:pt x="1040" y="691"/>
                </a:lnTo>
                <a:lnTo>
                  <a:pt x="1040" y="823"/>
                </a:lnTo>
                <a:lnTo>
                  <a:pt x="1151" y="823"/>
                </a:lnTo>
                <a:lnTo>
                  <a:pt x="1151" y="608"/>
                </a:lnTo>
                <a:lnTo>
                  <a:pt x="1209" y="608"/>
                </a:lnTo>
                <a:lnTo>
                  <a:pt x="1209" y="543"/>
                </a:lnTo>
                <a:lnTo>
                  <a:pt x="1251" y="543"/>
                </a:lnTo>
                <a:lnTo>
                  <a:pt x="1251" y="608"/>
                </a:lnTo>
                <a:lnTo>
                  <a:pt x="1372" y="608"/>
                </a:lnTo>
                <a:lnTo>
                  <a:pt x="1372" y="567"/>
                </a:lnTo>
                <a:lnTo>
                  <a:pt x="1413" y="567"/>
                </a:lnTo>
                <a:lnTo>
                  <a:pt x="1413" y="629"/>
                </a:lnTo>
                <a:lnTo>
                  <a:pt x="1458" y="629"/>
                </a:lnTo>
                <a:lnTo>
                  <a:pt x="1458" y="871"/>
                </a:lnTo>
                <a:lnTo>
                  <a:pt x="1510" y="871"/>
                </a:lnTo>
                <a:lnTo>
                  <a:pt x="1510" y="608"/>
                </a:lnTo>
                <a:lnTo>
                  <a:pt x="1548" y="608"/>
                </a:lnTo>
                <a:lnTo>
                  <a:pt x="1548" y="563"/>
                </a:lnTo>
                <a:lnTo>
                  <a:pt x="1600" y="563"/>
                </a:lnTo>
                <a:lnTo>
                  <a:pt x="1600" y="619"/>
                </a:lnTo>
                <a:lnTo>
                  <a:pt x="1627" y="619"/>
                </a:lnTo>
                <a:lnTo>
                  <a:pt x="1627" y="764"/>
                </a:lnTo>
                <a:lnTo>
                  <a:pt x="1648" y="764"/>
                </a:lnTo>
                <a:lnTo>
                  <a:pt x="1648" y="950"/>
                </a:lnTo>
                <a:lnTo>
                  <a:pt x="1683" y="950"/>
                </a:lnTo>
                <a:lnTo>
                  <a:pt x="1683" y="847"/>
                </a:lnTo>
                <a:lnTo>
                  <a:pt x="1721" y="847"/>
                </a:lnTo>
                <a:lnTo>
                  <a:pt x="1721" y="536"/>
                </a:lnTo>
                <a:lnTo>
                  <a:pt x="1752" y="536"/>
                </a:lnTo>
                <a:lnTo>
                  <a:pt x="1752" y="456"/>
                </a:lnTo>
                <a:lnTo>
                  <a:pt x="2038" y="456"/>
                </a:lnTo>
                <a:lnTo>
                  <a:pt x="2038" y="539"/>
                </a:lnTo>
                <a:lnTo>
                  <a:pt x="2059" y="539"/>
                </a:lnTo>
                <a:lnTo>
                  <a:pt x="2059" y="246"/>
                </a:lnTo>
                <a:lnTo>
                  <a:pt x="2173" y="246"/>
                </a:lnTo>
                <a:lnTo>
                  <a:pt x="2173" y="201"/>
                </a:lnTo>
                <a:lnTo>
                  <a:pt x="2252" y="201"/>
                </a:lnTo>
                <a:lnTo>
                  <a:pt x="2252" y="259"/>
                </a:lnTo>
                <a:lnTo>
                  <a:pt x="2287" y="259"/>
                </a:lnTo>
                <a:lnTo>
                  <a:pt x="2287" y="843"/>
                </a:lnTo>
                <a:lnTo>
                  <a:pt x="2356" y="843"/>
                </a:lnTo>
                <a:lnTo>
                  <a:pt x="2356" y="612"/>
                </a:lnTo>
                <a:lnTo>
                  <a:pt x="2384" y="612"/>
                </a:lnTo>
                <a:lnTo>
                  <a:pt x="2384" y="449"/>
                </a:lnTo>
                <a:lnTo>
                  <a:pt x="2398" y="432"/>
                </a:lnTo>
                <a:lnTo>
                  <a:pt x="2398" y="139"/>
                </a:lnTo>
                <a:lnTo>
                  <a:pt x="2436" y="139"/>
                </a:lnTo>
                <a:lnTo>
                  <a:pt x="2436" y="0"/>
                </a:lnTo>
                <a:lnTo>
                  <a:pt x="2567" y="0"/>
                </a:lnTo>
                <a:lnTo>
                  <a:pt x="2567" y="121"/>
                </a:lnTo>
                <a:lnTo>
                  <a:pt x="2598" y="121"/>
                </a:lnTo>
                <a:lnTo>
                  <a:pt x="2598" y="173"/>
                </a:lnTo>
                <a:lnTo>
                  <a:pt x="2629" y="173"/>
                </a:lnTo>
                <a:lnTo>
                  <a:pt x="2629" y="491"/>
                </a:lnTo>
                <a:lnTo>
                  <a:pt x="2670" y="491"/>
                </a:lnTo>
                <a:lnTo>
                  <a:pt x="2670" y="346"/>
                </a:lnTo>
                <a:lnTo>
                  <a:pt x="2988" y="346"/>
                </a:lnTo>
                <a:lnTo>
                  <a:pt x="2988" y="532"/>
                </a:lnTo>
                <a:lnTo>
                  <a:pt x="3071" y="532"/>
                </a:lnTo>
                <a:lnTo>
                  <a:pt x="3071" y="498"/>
                </a:lnTo>
                <a:lnTo>
                  <a:pt x="3126" y="498"/>
                </a:lnTo>
                <a:lnTo>
                  <a:pt x="3126" y="550"/>
                </a:lnTo>
                <a:lnTo>
                  <a:pt x="3233" y="550"/>
                </a:lnTo>
                <a:lnTo>
                  <a:pt x="3233" y="463"/>
                </a:lnTo>
                <a:lnTo>
                  <a:pt x="3320" y="463"/>
                </a:lnTo>
                <a:lnTo>
                  <a:pt x="3320" y="398"/>
                </a:lnTo>
                <a:lnTo>
                  <a:pt x="3382" y="398"/>
                </a:lnTo>
                <a:lnTo>
                  <a:pt x="3382" y="446"/>
                </a:lnTo>
                <a:lnTo>
                  <a:pt x="3565" y="446"/>
                </a:lnTo>
                <a:lnTo>
                  <a:pt x="3565" y="1040"/>
                </a:lnTo>
                <a:lnTo>
                  <a:pt x="3565" y="1866"/>
                </a:lnTo>
                <a:lnTo>
                  <a:pt x="0" y="1866"/>
                </a:lnTo>
                <a:lnTo>
                  <a:pt x="0" y="9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88" name="Freeform 17"/>
          <p:cNvSpPr>
            <a:spLocks/>
          </p:cNvSpPr>
          <p:nvPr userDrawn="1"/>
        </p:nvSpPr>
        <p:spPr bwMode="auto">
          <a:xfrm>
            <a:off x="5395669" y="4470308"/>
            <a:ext cx="3084573" cy="2387692"/>
          </a:xfrm>
          <a:custGeom>
            <a:avLst/>
            <a:gdLst>
              <a:gd name="T0" fmla="*/ 1882 w 1982"/>
              <a:gd name="T1" fmla="*/ 456 h 1534"/>
              <a:gd name="T2" fmla="*/ 1882 w 1982"/>
              <a:gd name="T3" fmla="*/ 546 h 1534"/>
              <a:gd name="T4" fmla="*/ 1830 w 1982"/>
              <a:gd name="T5" fmla="*/ 546 h 1534"/>
              <a:gd name="T6" fmla="*/ 1830 w 1982"/>
              <a:gd name="T7" fmla="*/ 629 h 1534"/>
              <a:gd name="T8" fmla="*/ 1699 w 1982"/>
              <a:gd name="T9" fmla="*/ 629 h 1534"/>
              <a:gd name="T10" fmla="*/ 1699 w 1982"/>
              <a:gd name="T11" fmla="*/ 822 h 1534"/>
              <a:gd name="T12" fmla="*/ 1668 w 1982"/>
              <a:gd name="T13" fmla="*/ 822 h 1534"/>
              <a:gd name="T14" fmla="*/ 1668 w 1982"/>
              <a:gd name="T15" fmla="*/ 59 h 1534"/>
              <a:gd name="T16" fmla="*/ 1388 w 1982"/>
              <a:gd name="T17" fmla="*/ 59 h 1534"/>
              <a:gd name="T18" fmla="*/ 1388 w 1982"/>
              <a:gd name="T19" fmla="*/ 200 h 1534"/>
              <a:gd name="T20" fmla="*/ 1226 w 1982"/>
              <a:gd name="T21" fmla="*/ 200 h 1534"/>
              <a:gd name="T22" fmla="*/ 1226 w 1982"/>
              <a:gd name="T23" fmla="*/ 688 h 1534"/>
              <a:gd name="T24" fmla="*/ 1119 w 1982"/>
              <a:gd name="T25" fmla="*/ 688 h 1534"/>
              <a:gd name="T26" fmla="*/ 1119 w 1982"/>
              <a:gd name="T27" fmla="*/ 629 h 1534"/>
              <a:gd name="T28" fmla="*/ 1043 w 1982"/>
              <a:gd name="T29" fmla="*/ 629 h 1534"/>
              <a:gd name="T30" fmla="*/ 1043 w 1982"/>
              <a:gd name="T31" fmla="*/ 542 h 1534"/>
              <a:gd name="T32" fmla="*/ 839 w 1982"/>
              <a:gd name="T33" fmla="*/ 542 h 1534"/>
              <a:gd name="T34" fmla="*/ 839 w 1982"/>
              <a:gd name="T35" fmla="*/ 629 h 1534"/>
              <a:gd name="T36" fmla="*/ 736 w 1982"/>
              <a:gd name="T37" fmla="*/ 629 h 1534"/>
              <a:gd name="T38" fmla="*/ 736 w 1982"/>
              <a:gd name="T39" fmla="*/ 698 h 1534"/>
              <a:gd name="T40" fmla="*/ 694 w 1982"/>
              <a:gd name="T41" fmla="*/ 698 h 1534"/>
              <a:gd name="T42" fmla="*/ 694 w 1982"/>
              <a:gd name="T43" fmla="*/ 0 h 1534"/>
              <a:gd name="T44" fmla="*/ 331 w 1982"/>
              <a:gd name="T45" fmla="*/ 0 h 1534"/>
              <a:gd name="T46" fmla="*/ 331 w 1982"/>
              <a:gd name="T47" fmla="*/ 663 h 1534"/>
              <a:gd name="T48" fmla="*/ 245 w 1982"/>
              <a:gd name="T49" fmla="*/ 663 h 1534"/>
              <a:gd name="T50" fmla="*/ 245 w 1982"/>
              <a:gd name="T51" fmla="*/ 456 h 1534"/>
              <a:gd name="T52" fmla="*/ 93 w 1982"/>
              <a:gd name="T53" fmla="*/ 456 h 1534"/>
              <a:gd name="T54" fmla="*/ 93 w 1982"/>
              <a:gd name="T55" fmla="*/ 826 h 1534"/>
              <a:gd name="T56" fmla="*/ 0 w 1982"/>
              <a:gd name="T57" fmla="*/ 826 h 1534"/>
              <a:gd name="T58" fmla="*/ 0 w 1982"/>
              <a:gd name="T59" fmla="*/ 1534 h 1534"/>
              <a:gd name="T60" fmla="*/ 1982 w 1982"/>
              <a:gd name="T61" fmla="*/ 1534 h 1534"/>
              <a:gd name="T62" fmla="*/ 1982 w 1982"/>
              <a:gd name="T63" fmla="*/ 456 h 1534"/>
              <a:gd name="T64" fmla="*/ 1882 w 1982"/>
              <a:gd name="T65" fmla="*/ 456 h 1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82" h="1534">
                <a:moveTo>
                  <a:pt x="1882" y="456"/>
                </a:moveTo>
                <a:lnTo>
                  <a:pt x="1882" y="546"/>
                </a:lnTo>
                <a:lnTo>
                  <a:pt x="1830" y="546"/>
                </a:lnTo>
                <a:lnTo>
                  <a:pt x="1830" y="629"/>
                </a:lnTo>
                <a:lnTo>
                  <a:pt x="1699" y="629"/>
                </a:lnTo>
                <a:lnTo>
                  <a:pt x="1699" y="822"/>
                </a:lnTo>
                <a:lnTo>
                  <a:pt x="1668" y="822"/>
                </a:lnTo>
                <a:lnTo>
                  <a:pt x="1668" y="59"/>
                </a:lnTo>
                <a:lnTo>
                  <a:pt x="1388" y="59"/>
                </a:lnTo>
                <a:lnTo>
                  <a:pt x="1388" y="200"/>
                </a:lnTo>
                <a:lnTo>
                  <a:pt x="1226" y="200"/>
                </a:lnTo>
                <a:lnTo>
                  <a:pt x="1226" y="688"/>
                </a:lnTo>
                <a:lnTo>
                  <a:pt x="1119" y="688"/>
                </a:lnTo>
                <a:lnTo>
                  <a:pt x="1119" y="629"/>
                </a:lnTo>
                <a:lnTo>
                  <a:pt x="1043" y="629"/>
                </a:lnTo>
                <a:lnTo>
                  <a:pt x="1043" y="542"/>
                </a:lnTo>
                <a:lnTo>
                  <a:pt x="839" y="542"/>
                </a:lnTo>
                <a:lnTo>
                  <a:pt x="839" y="629"/>
                </a:lnTo>
                <a:lnTo>
                  <a:pt x="736" y="629"/>
                </a:lnTo>
                <a:lnTo>
                  <a:pt x="736" y="698"/>
                </a:lnTo>
                <a:lnTo>
                  <a:pt x="694" y="698"/>
                </a:lnTo>
                <a:lnTo>
                  <a:pt x="694" y="0"/>
                </a:lnTo>
                <a:lnTo>
                  <a:pt x="331" y="0"/>
                </a:lnTo>
                <a:lnTo>
                  <a:pt x="331" y="663"/>
                </a:lnTo>
                <a:lnTo>
                  <a:pt x="245" y="663"/>
                </a:lnTo>
                <a:lnTo>
                  <a:pt x="245" y="456"/>
                </a:lnTo>
                <a:lnTo>
                  <a:pt x="93" y="456"/>
                </a:lnTo>
                <a:lnTo>
                  <a:pt x="93" y="826"/>
                </a:lnTo>
                <a:lnTo>
                  <a:pt x="0" y="826"/>
                </a:lnTo>
                <a:lnTo>
                  <a:pt x="0" y="1534"/>
                </a:lnTo>
                <a:lnTo>
                  <a:pt x="1982" y="1534"/>
                </a:lnTo>
                <a:lnTo>
                  <a:pt x="1982" y="456"/>
                </a:lnTo>
                <a:lnTo>
                  <a:pt x="1882" y="45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89" name="Freeform 18"/>
          <p:cNvSpPr>
            <a:spLocks/>
          </p:cNvSpPr>
          <p:nvPr userDrawn="1"/>
        </p:nvSpPr>
        <p:spPr bwMode="auto">
          <a:xfrm flipH="1">
            <a:off x="8466235" y="2965159"/>
            <a:ext cx="3725766" cy="3892842"/>
          </a:xfrm>
          <a:custGeom>
            <a:avLst/>
            <a:gdLst>
              <a:gd name="T0" fmla="*/ 2308 w 2394"/>
              <a:gd name="T1" fmla="*/ 1385 h 2501"/>
              <a:gd name="T2" fmla="*/ 2270 w 2394"/>
              <a:gd name="T3" fmla="*/ 1420 h 2501"/>
              <a:gd name="T4" fmla="*/ 2228 w 2394"/>
              <a:gd name="T5" fmla="*/ 1323 h 2501"/>
              <a:gd name="T6" fmla="*/ 2083 w 2394"/>
              <a:gd name="T7" fmla="*/ 1202 h 2501"/>
              <a:gd name="T8" fmla="*/ 2055 w 2394"/>
              <a:gd name="T9" fmla="*/ 1278 h 2501"/>
              <a:gd name="T10" fmla="*/ 2031 w 2394"/>
              <a:gd name="T11" fmla="*/ 1344 h 2501"/>
              <a:gd name="T12" fmla="*/ 1969 w 2394"/>
              <a:gd name="T13" fmla="*/ 1019 h 2501"/>
              <a:gd name="T14" fmla="*/ 1872 w 2394"/>
              <a:gd name="T15" fmla="*/ 1071 h 2501"/>
              <a:gd name="T16" fmla="*/ 1845 w 2394"/>
              <a:gd name="T17" fmla="*/ 1140 h 2501"/>
              <a:gd name="T18" fmla="*/ 1696 w 2394"/>
              <a:gd name="T19" fmla="*/ 1036 h 2501"/>
              <a:gd name="T20" fmla="*/ 1620 w 2394"/>
              <a:gd name="T21" fmla="*/ 1209 h 2501"/>
              <a:gd name="T22" fmla="*/ 1582 w 2394"/>
              <a:gd name="T23" fmla="*/ 929 h 2501"/>
              <a:gd name="T24" fmla="*/ 1555 w 2394"/>
              <a:gd name="T25" fmla="*/ 843 h 2501"/>
              <a:gd name="T26" fmla="*/ 1472 w 2394"/>
              <a:gd name="T27" fmla="*/ 929 h 2501"/>
              <a:gd name="T28" fmla="*/ 1447 w 2394"/>
              <a:gd name="T29" fmla="*/ 874 h 2501"/>
              <a:gd name="T30" fmla="*/ 1416 w 2394"/>
              <a:gd name="T31" fmla="*/ 953 h 2501"/>
              <a:gd name="T32" fmla="*/ 1382 w 2394"/>
              <a:gd name="T33" fmla="*/ 1274 h 2501"/>
              <a:gd name="T34" fmla="*/ 1354 w 2394"/>
              <a:gd name="T35" fmla="*/ 929 h 2501"/>
              <a:gd name="T36" fmla="*/ 1320 w 2394"/>
              <a:gd name="T37" fmla="*/ 867 h 2501"/>
              <a:gd name="T38" fmla="*/ 1302 w 2394"/>
              <a:gd name="T39" fmla="*/ 939 h 2501"/>
              <a:gd name="T40" fmla="*/ 1285 w 2394"/>
              <a:gd name="T41" fmla="*/ 1133 h 2501"/>
              <a:gd name="T42" fmla="*/ 1264 w 2394"/>
              <a:gd name="T43" fmla="*/ 1378 h 2501"/>
              <a:gd name="T44" fmla="*/ 1240 w 2394"/>
              <a:gd name="T45" fmla="*/ 1243 h 2501"/>
              <a:gd name="T46" fmla="*/ 1216 w 2394"/>
              <a:gd name="T47" fmla="*/ 701 h 2501"/>
              <a:gd name="T48" fmla="*/ 1026 w 2394"/>
              <a:gd name="T49" fmla="*/ 597 h 2501"/>
              <a:gd name="T50" fmla="*/ 1009 w 2394"/>
              <a:gd name="T51" fmla="*/ 708 h 2501"/>
              <a:gd name="T52" fmla="*/ 933 w 2394"/>
              <a:gd name="T53" fmla="*/ 324 h 2501"/>
              <a:gd name="T54" fmla="*/ 881 w 2394"/>
              <a:gd name="T55" fmla="*/ 262 h 2501"/>
              <a:gd name="T56" fmla="*/ 857 w 2394"/>
              <a:gd name="T57" fmla="*/ 338 h 2501"/>
              <a:gd name="T58" fmla="*/ 812 w 2394"/>
              <a:gd name="T59" fmla="*/ 1243 h 2501"/>
              <a:gd name="T60" fmla="*/ 795 w 2394"/>
              <a:gd name="T61" fmla="*/ 939 h 2501"/>
              <a:gd name="T62" fmla="*/ 784 w 2394"/>
              <a:gd name="T63" fmla="*/ 566 h 2501"/>
              <a:gd name="T64" fmla="*/ 757 w 2394"/>
              <a:gd name="T65" fmla="*/ 183 h 2501"/>
              <a:gd name="T66" fmla="*/ 670 w 2394"/>
              <a:gd name="T67" fmla="*/ 0 h 2501"/>
              <a:gd name="T68" fmla="*/ 646 w 2394"/>
              <a:gd name="T69" fmla="*/ 155 h 2501"/>
              <a:gd name="T70" fmla="*/ 629 w 2394"/>
              <a:gd name="T71" fmla="*/ 228 h 2501"/>
              <a:gd name="T72" fmla="*/ 598 w 2394"/>
              <a:gd name="T73" fmla="*/ 642 h 2501"/>
              <a:gd name="T74" fmla="*/ 387 w 2394"/>
              <a:gd name="T75" fmla="*/ 456 h 2501"/>
              <a:gd name="T76" fmla="*/ 332 w 2394"/>
              <a:gd name="T77" fmla="*/ 698 h 2501"/>
              <a:gd name="T78" fmla="*/ 294 w 2394"/>
              <a:gd name="T79" fmla="*/ 653 h 2501"/>
              <a:gd name="T80" fmla="*/ 221 w 2394"/>
              <a:gd name="T81" fmla="*/ 722 h 2501"/>
              <a:gd name="T82" fmla="*/ 163 w 2394"/>
              <a:gd name="T83" fmla="*/ 604 h 2501"/>
              <a:gd name="T84" fmla="*/ 121 w 2394"/>
              <a:gd name="T85" fmla="*/ 521 h 2501"/>
              <a:gd name="T86" fmla="*/ 0 w 2394"/>
              <a:gd name="T87" fmla="*/ 587 h 2501"/>
              <a:gd name="T88" fmla="*/ 0 w 2394"/>
              <a:gd name="T89" fmla="*/ 2501 h 2501"/>
              <a:gd name="T90" fmla="*/ 2394 w 2394"/>
              <a:gd name="T91" fmla="*/ 1385 h 2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94" h="2501">
                <a:moveTo>
                  <a:pt x="2394" y="1385"/>
                </a:moveTo>
                <a:lnTo>
                  <a:pt x="2308" y="1385"/>
                </a:lnTo>
                <a:lnTo>
                  <a:pt x="2308" y="1420"/>
                </a:lnTo>
                <a:lnTo>
                  <a:pt x="2270" y="1420"/>
                </a:lnTo>
                <a:lnTo>
                  <a:pt x="2270" y="1323"/>
                </a:lnTo>
                <a:lnTo>
                  <a:pt x="2228" y="1323"/>
                </a:lnTo>
                <a:lnTo>
                  <a:pt x="2228" y="1202"/>
                </a:lnTo>
                <a:lnTo>
                  <a:pt x="2083" y="1202"/>
                </a:lnTo>
                <a:lnTo>
                  <a:pt x="2083" y="1278"/>
                </a:lnTo>
                <a:lnTo>
                  <a:pt x="2055" y="1278"/>
                </a:lnTo>
                <a:lnTo>
                  <a:pt x="2055" y="1344"/>
                </a:lnTo>
                <a:lnTo>
                  <a:pt x="2031" y="1344"/>
                </a:lnTo>
                <a:lnTo>
                  <a:pt x="2031" y="1019"/>
                </a:lnTo>
                <a:lnTo>
                  <a:pt x="1969" y="1019"/>
                </a:lnTo>
                <a:lnTo>
                  <a:pt x="1969" y="1071"/>
                </a:lnTo>
                <a:lnTo>
                  <a:pt x="1872" y="1071"/>
                </a:lnTo>
                <a:lnTo>
                  <a:pt x="1872" y="1140"/>
                </a:lnTo>
                <a:lnTo>
                  <a:pt x="1845" y="1140"/>
                </a:lnTo>
                <a:lnTo>
                  <a:pt x="1845" y="1036"/>
                </a:lnTo>
                <a:lnTo>
                  <a:pt x="1696" y="1036"/>
                </a:lnTo>
                <a:lnTo>
                  <a:pt x="1696" y="1209"/>
                </a:lnTo>
                <a:lnTo>
                  <a:pt x="1620" y="1209"/>
                </a:lnTo>
                <a:lnTo>
                  <a:pt x="1620" y="929"/>
                </a:lnTo>
                <a:lnTo>
                  <a:pt x="1582" y="929"/>
                </a:lnTo>
                <a:lnTo>
                  <a:pt x="1582" y="843"/>
                </a:lnTo>
                <a:lnTo>
                  <a:pt x="1555" y="843"/>
                </a:lnTo>
                <a:lnTo>
                  <a:pt x="1555" y="929"/>
                </a:lnTo>
                <a:lnTo>
                  <a:pt x="1472" y="929"/>
                </a:lnTo>
                <a:lnTo>
                  <a:pt x="1472" y="874"/>
                </a:lnTo>
                <a:lnTo>
                  <a:pt x="1447" y="874"/>
                </a:lnTo>
                <a:lnTo>
                  <a:pt x="1447" y="953"/>
                </a:lnTo>
                <a:lnTo>
                  <a:pt x="1416" y="953"/>
                </a:lnTo>
                <a:lnTo>
                  <a:pt x="1416" y="1274"/>
                </a:lnTo>
                <a:lnTo>
                  <a:pt x="1382" y="1274"/>
                </a:lnTo>
                <a:lnTo>
                  <a:pt x="1382" y="929"/>
                </a:lnTo>
                <a:lnTo>
                  <a:pt x="1354" y="929"/>
                </a:lnTo>
                <a:lnTo>
                  <a:pt x="1354" y="867"/>
                </a:lnTo>
                <a:lnTo>
                  <a:pt x="1320" y="867"/>
                </a:lnTo>
                <a:lnTo>
                  <a:pt x="1320" y="939"/>
                </a:lnTo>
                <a:lnTo>
                  <a:pt x="1302" y="939"/>
                </a:lnTo>
                <a:lnTo>
                  <a:pt x="1302" y="1133"/>
                </a:lnTo>
                <a:lnTo>
                  <a:pt x="1285" y="1133"/>
                </a:lnTo>
                <a:lnTo>
                  <a:pt x="1285" y="1378"/>
                </a:lnTo>
                <a:lnTo>
                  <a:pt x="1264" y="1378"/>
                </a:lnTo>
                <a:lnTo>
                  <a:pt x="1264" y="1243"/>
                </a:lnTo>
                <a:lnTo>
                  <a:pt x="1240" y="1243"/>
                </a:lnTo>
                <a:lnTo>
                  <a:pt x="1240" y="701"/>
                </a:lnTo>
                <a:lnTo>
                  <a:pt x="1216" y="701"/>
                </a:lnTo>
                <a:lnTo>
                  <a:pt x="1216" y="597"/>
                </a:lnTo>
                <a:lnTo>
                  <a:pt x="1026" y="597"/>
                </a:lnTo>
                <a:lnTo>
                  <a:pt x="1026" y="708"/>
                </a:lnTo>
                <a:lnTo>
                  <a:pt x="1009" y="708"/>
                </a:lnTo>
                <a:lnTo>
                  <a:pt x="1009" y="324"/>
                </a:lnTo>
                <a:lnTo>
                  <a:pt x="933" y="324"/>
                </a:lnTo>
                <a:lnTo>
                  <a:pt x="933" y="262"/>
                </a:lnTo>
                <a:lnTo>
                  <a:pt x="881" y="262"/>
                </a:lnTo>
                <a:lnTo>
                  <a:pt x="881" y="338"/>
                </a:lnTo>
                <a:lnTo>
                  <a:pt x="857" y="338"/>
                </a:lnTo>
                <a:lnTo>
                  <a:pt x="857" y="1243"/>
                </a:lnTo>
                <a:lnTo>
                  <a:pt x="812" y="1243"/>
                </a:lnTo>
                <a:lnTo>
                  <a:pt x="812" y="939"/>
                </a:lnTo>
                <a:lnTo>
                  <a:pt x="795" y="939"/>
                </a:lnTo>
                <a:lnTo>
                  <a:pt x="795" y="590"/>
                </a:lnTo>
                <a:lnTo>
                  <a:pt x="784" y="566"/>
                </a:lnTo>
                <a:lnTo>
                  <a:pt x="784" y="183"/>
                </a:lnTo>
                <a:lnTo>
                  <a:pt x="757" y="183"/>
                </a:lnTo>
                <a:lnTo>
                  <a:pt x="757" y="0"/>
                </a:lnTo>
                <a:lnTo>
                  <a:pt x="670" y="0"/>
                </a:lnTo>
                <a:lnTo>
                  <a:pt x="670" y="155"/>
                </a:lnTo>
                <a:lnTo>
                  <a:pt x="646" y="155"/>
                </a:lnTo>
                <a:lnTo>
                  <a:pt x="646" y="228"/>
                </a:lnTo>
                <a:lnTo>
                  <a:pt x="629" y="228"/>
                </a:lnTo>
                <a:lnTo>
                  <a:pt x="629" y="642"/>
                </a:lnTo>
                <a:lnTo>
                  <a:pt x="598" y="642"/>
                </a:lnTo>
                <a:lnTo>
                  <a:pt x="598" y="456"/>
                </a:lnTo>
                <a:lnTo>
                  <a:pt x="387" y="456"/>
                </a:lnTo>
                <a:lnTo>
                  <a:pt x="387" y="698"/>
                </a:lnTo>
                <a:lnTo>
                  <a:pt x="332" y="698"/>
                </a:lnTo>
                <a:lnTo>
                  <a:pt x="332" y="653"/>
                </a:lnTo>
                <a:lnTo>
                  <a:pt x="294" y="653"/>
                </a:lnTo>
                <a:lnTo>
                  <a:pt x="294" y="722"/>
                </a:lnTo>
                <a:lnTo>
                  <a:pt x="221" y="722"/>
                </a:lnTo>
                <a:lnTo>
                  <a:pt x="221" y="604"/>
                </a:lnTo>
                <a:lnTo>
                  <a:pt x="163" y="604"/>
                </a:lnTo>
                <a:lnTo>
                  <a:pt x="163" y="521"/>
                </a:lnTo>
                <a:lnTo>
                  <a:pt x="121" y="521"/>
                </a:lnTo>
                <a:lnTo>
                  <a:pt x="121" y="587"/>
                </a:lnTo>
                <a:lnTo>
                  <a:pt x="0" y="587"/>
                </a:lnTo>
                <a:lnTo>
                  <a:pt x="0" y="1503"/>
                </a:lnTo>
                <a:lnTo>
                  <a:pt x="0" y="2501"/>
                </a:lnTo>
                <a:lnTo>
                  <a:pt x="2394" y="2501"/>
                </a:lnTo>
                <a:lnTo>
                  <a:pt x="2394" y="138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  <p:sp>
        <p:nvSpPr>
          <p:cNvPr id="91" name="Freeform 20"/>
          <p:cNvSpPr>
            <a:spLocks noEditPoints="1"/>
          </p:cNvSpPr>
          <p:nvPr userDrawn="1"/>
        </p:nvSpPr>
        <p:spPr bwMode="auto">
          <a:xfrm>
            <a:off x="8105463" y="303197"/>
            <a:ext cx="535365" cy="5781420"/>
          </a:xfrm>
          <a:custGeom>
            <a:avLst/>
            <a:gdLst>
              <a:gd name="T0" fmla="*/ 51 w 93"/>
              <a:gd name="T1" fmla="*/ 1003 h 1003"/>
              <a:gd name="T2" fmla="*/ 51 w 93"/>
              <a:gd name="T3" fmla="*/ 1002 h 1003"/>
              <a:gd name="T4" fmla="*/ 42 w 93"/>
              <a:gd name="T5" fmla="*/ 1002 h 1003"/>
              <a:gd name="T6" fmla="*/ 42 w 93"/>
              <a:gd name="T7" fmla="*/ 1003 h 1003"/>
              <a:gd name="T8" fmla="*/ 0 w 93"/>
              <a:gd name="T9" fmla="*/ 1003 h 1003"/>
              <a:gd name="T10" fmla="*/ 34 w 93"/>
              <a:gd name="T11" fmla="*/ 384 h 1003"/>
              <a:gd name="T12" fmla="*/ 4 w 93"/>
              <a:gd name="T13" fmla="*/ 370 h 1003"/>
              <a:gd name="T14" fmla="*/ 13 w 93"/>
              <a:gd name="T15" fmla="*/ 360 h 1003"/>
              <a:gd name="T16" fmla="*/ 3 w 93"/>
              <a:gd name="T17" fmla="*/ 344 h 1003"/>
              <a:gd name="T18" fmla="*/ 15 w 93"/>
              <a:gd name="T19" fmla="*/ 325 h 1003"/>
              <a:gd name="T20" fmla="*/ 15 w 93"/>
              <a:gd name="T21" fmla="*/ 324 h 1003"/>
              <a:gd name="T22" fmla="*/ 29 w 93"/>
              <a:gd name="T23" fmla="*/ 309 h 1003"/>
              <a:gd name="T24" fmla="*/ 35 w 93"/>
              <a:gd name="T25" fmla="*/ 309 h 1003"/>
              <a:gd name="T26" fmla="*/ 35 w 93"/>
              <a:gd name="T27" fmla="*/ 300 h 1003"/>
              <a:gd name="T28" fmla="*/ 35 w 93"/>
              <a:gd name="T29" fmla="*/ 300 h 1003"/>
              <a:gd name="T30" fmla="*/ 29 w 93"/>
              <a:gd name="T31" fmla="*/ 294 h 1003"/>
              <a:gd name="T32" fmla="*/ 35 w 93"/>
              <a:gd name="T33" fmla="*/ 288 h 1003"/>
              <a:gd name="T34" fmla="*/ 35 w 93"/>
              <a:gd name="T35" fmla="*/ 288 h 1003"/>
              <a:gd name="T36" fmla="*/ 35 w 93"/>
              <a:gd name="T37" fmla="*/ 178 h 1003"/>
              <a:gd name="T38" fmla="*/ 58 w 93"/>
              <a:gd name="T39" fmla="*/ 178 h 1003"/>
              <a:gd name="T40" fmla="*/ 58 w 93"/>
              <a:gd name="T41" fmla="*/ 288 h 1003"/>
              <a:gd name="T42" fmla="*/ 58 w 93"/>
              <a:gd name="T43" fmla="*/ 288 h 1003"/>
              <a:gd name="T44" fmla="*/ 64 w 93"/>
              <a:gd name="T45" fmla="*/ 294 h 1003"/>
              <a:gd name="T46" fmla="*/ 58 w 93"/>
              <a:gd name="T47" fmla="*/ 300 h 1003"/>
              <a:gd name="T48" fmla="*/ 58 w 93"/>
              <a:gd name="T49" fmla="*/ 300 h 1003"/>
              <a:gd name="T50" fmla="*/ 58 w 93"/>
              <a:gd name="T51" fmla="*/ 309 h 1003"/>
              <a:gd name="T52" fmla="*/ 63 w 93"/>
              <a:gd name="T53" fmla="*/ 309 h 1003"/>
              <a:gd name="T54" fmla="*/ 78 w 93"/>
              <a:gd name="T55" fmla="*/ 324 h 1003"/>
              <a:gd name="T56" fmla="*/ 78 w 93"/>
              <a:gd name="T57" fmla="*/ 325 h 1003"/>
              <a:gd name="T58" fmla="*/ 90 w 93"/>
              <a:gd name="T59" fmla="*/ 344 h 1003"/>
              <a:gd name="T60" fmla="*/ 80 w 93"/>
              <a:gd name="T61" fmla="*/ 360 h 1003"/>
              <a:gd name="T62" fmla="*/ 89 w 93"/>
              <a:gd name="T63" fmla="*/ 370 h 1003"/>
              <a:gd name="T64" fmla="*/ 59 w 93"/>
              <a:gd name="T65" fmla="*/ 384 h 1003"/>
              <a:gd name="T66" fmla="*/ 93 w 93"/>
              <a:gd name="T67" fmla="*/ 1003 h 1003"/>
              <a:gd name="T68" fmla="*/ 51 w 93"/>
              <a:gd name="T69" fmla="*/ 1003 h 1003"/>
              <a:gd name="T70" fmla="*/ 63 w 93"/>
              <a:gd name="T71" fmla="*/ 177 h 1003"/>
              <a:gd name="T72" fmla="*/ 53 w 93"/>
              <a:gd name="T73" fmla="*/ 165 h 1003"/>
              <a:gd name="T74" fmla="*/ 53 w 93"/>
              <a:gd name="T75" fmla="*/ 94 h 1003"/>
              <a:gd name="T76" fmla="*/ 51 w 93"/>
              <a:gd name="T77" fmla="*/ 94 h 1003"/>
              <a:gd name="T78" fmla="*/ 51 w 93"/>
              <a:gd name="T79" fmla="*/ 66 h 1003"/>
              <a:gd name="T80" fmla="*/ 50 w 93"/>
              <a:gd name="T81" fmla="*/ 66 h 1003"/>
              <a:gd name="T82" fmla="*/ 50 w 93"/>
              <a:gd name="T83" fmla="*/ 35 h 1003"/>
              <a:gd name="T84" fmla="*/ 49 w 93"/>
              <a:gd name="T85" fmla="*/ 35 h 1003"/>
              <a:gd name="T86" fmla="*/ 49 w 93"/>
              <a:gd name="T87" fmla="*/ 0 h 1003"/>
              <a:gd name="T88" fmla="*/ 44 w 93"/>
              <a:gd name="T89" fmla="*/ 0 h 1003"/>
              <a:gd name="T90" fmla="*/ 44 w 93"/>
              <a:gd name="T91" fmla="*/ 35 h 1003"/>
              <a:gd name="T92" fmla="*/ 43 w 93"/>
              <a:gd name="T93" fmla="*/ 35 h 1003"/>
              <a:gd name="T94" fmla="*/ 43 w 93"/>
              <a:gd name="T95" fmla="*/ 66 h 1003"/>
              <a:gd name="T96" fmla="*/ 42 w 93"/>
              <a:gd name="T97" fmla="*/ 66 h 1003"/>
              <a:gd name="T98" fmla="*/ 42 w 93"/>
              <a:gd name="T99" fmla="*/ 94 h 1003"/>
              <a:gd name="T100" fmla="*/ 40 w 93"/>
              <a:gd name="T101" fmla="*/ 94 h 1003"/>
              <a:gd name="T102" fmla="*/ 40 w 93"/>
              <a:gd name="T103" fmla="*/ 165 h 1003"/>
              <a:gd name="T104" fmla="*/ 29 w 93"/>
              <a:gd name="T105" fmla="*/ 177 h 1003"/>
              <a:gd name="T106" fmla="*/ 29 w 93"/>
              <a:gd name="T107" fmla="*/ 177 h 1003"/>
              <a:gd name="T108" fmla="*/ 63 w 93"/>
              <a:gd name="T109" fmla="*/ 177 h 1003"/>
              <a:gd name="T110" fmla="*/ 63 w 93"/>
              <a:gd name="T111" fmla="*/ 177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3" h="1003">
                <a:moveTo>
                  <a:pt x="51" y="1003"/>
                </a:moveTo>
                <a:cubicBezTo>
                  <a:pt x="51" y="1002"/>
                  <a:pt x="51" y="1002"/>
                  <a:pt x="51" y="1002"/>
                </a:cubicBezTo>
                <a:cubicBezTo>
                  <a:pt x="42" y="1002"/>
                  <a:pt x="42" y="1002"/>
                  <a:pt x="42" y="1002"/>
                </a:cubicBezTo>
                <a:cubicBezTo>
                  <a:pt x="42" y="1003"/>
                  <a:pt x="42" y="1003"/>
                  <a:pt x="42" y="1003"/>
                </a:cubicBezTo>
                <a:cubicBezTo>
                  <a:pt x="0" y="1003"/>
                  <a:pt x="0" y="1003"/>
                  <a:pt x="0" y="1003"/>
                </a:cubicBezTo>
                <a:cubicBezTo>
                  <a:pt x="0" y="1003"/>
                  <a:pt x="25" y="599"/>
                  <a:pt x="34" y="384"/>
                </a:cubicBezTo>
                <a:cubicBezTo>
                  <a:pt x="17" y="382"/>
                  <a:pt x="4" y="377"/>
                  <a:pt x="4" y="370"/>
                </a:cubicBezTo>
                <a:cubicBezTo>
                  <a:pt x="4" y="366"/>
                  <a:pt x="8" y="363"/>
                  <a:pt x="13" y="360"/>
                </a:cubicBezTo>
                <a:cubicBezTo>
                  <a:pt x="7" y="356"/>
                  <a:pt x="3" y="350"/>
                  <a:pt x="3" y="344"/>
                </a:cubicBezTo>
                <a:cubicBezTo>
                  <a:pt x="3" y="336"/>
                  <a:pt x="8" y="330"/>
                  <a:pt x="15" y="325"/>
                </a:cubicBezTo>
                <a:cubicBezTo>
                  <a:pt x="15" y="324"/>
                  <a:pt x="15" y="324"/>
                  <a:pt x="15" y="324"/>
                </a:cubicBezTo>
                <a:cubicBezTo>
                  <a:pt x="15" y="316"/>
                  <a:pt x="22" y="309"/>
                  <a:pt x="29" y="309"/>
                </a:cubicBezTo>
                <a:cubicBezTo>
                  <a:pt x="35" y="309"/>
                  <a:pt x="35" y="309"/>
                  <a:pt x="35" y="309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1" y="300"/>
                  <a:pt x="29" y="297"/>
                  <a:pt x="29" y="294"/>
                </a:cubicBezTo>
                <a:cubicBezTo>
                  <a:pt x="29" y="291"/>
                  <a:pt x="31" y="288"/>
                  <a:pt x="35" y="288"/>
                </a:cubicBezTo>
                <a:cubicBezTo>
                  <a:pt x="35" y="288"/>
                  <a:pt x="35" y="288"/>
                  <a:pt x="35" y="288"/>
                </a:cubicBezTo>
                <a:cubicBezTo>
                  <a:pt x="35" y="178"/>
                  <a:pt x="35" y="178"/>
                  <a:pt x="35" y="178"/>
                </a:cubicBezTo>
                <a:cubicBezTo>
                  <a:pt x="58" y="178"/>
                  <a:pt x="58" y="178"/>
                  <a:pt x="58" y="178"/>
                </a:cubicBezTo>
                <a:cubicBezTo>
                  <a:pt x="58" y="288"/>
                  <a:pt x="58" y="288"/>
                  <a:pt x="58" y="288"/>
                </a:cubicBezTo>
                <a:cubicBezTo>
                  <a:pt x="58" y="288"/>
                  <a:pt x="58" y="288"/>
                  <a:pt x="58" y="288"/>
                </a:cubicBezTo>
                <a:cubicBezTo>
                  <a:pt x="62" y="288"/>
                  <a:pt x="64" y="291"/>
                  <a:pt x="64" y="294"/>
                </a:cubicBezTo>
                <a:cubicBezTo>
                  <a:pt x="64" y="297"/>
                  <a:pt x="62" y="300"/>
                  <a:pt x="58" y="300"/>
                </a:cubicBezTo>
                <a:cubicBezTo>
                  <a:pt x="58" y="300"/>
                  <a:pt x="58" y="300"/>
                  <a:pt x="58" y="300"/>
                </a:cubicBezTo>
                <a:cubicBezTo>
                  <a:pt x="58" y="309"/>
                  <a:pt x="58" y="309"/>
                  <a:pt x="58" y="309"/>
                </a:cubicBezTo>
                <a:cubicBezTo>
                  <a:pt x="63" y="309"/>
                  <a:pt x="63" y="309"/>
                  <a:pt x="63" y="309"/>
                </a:cubicBezTo>
                <a:cubicBezTo>
                  <a:pt x="71" y="309"/>
                  <a:pt x="78" y="316"/>
                  <a:pt x="78" y="324"/>
                </a:cubicBezTo>
                <a:cubicBezTo>
                  <a:pt x="78" y="325"/>
                  <a:pt x="78" y="325"/>
                  <a:pt x="78" y="325"/>
                </a:cubicBezTo>
                <a:cubicBezTo>
                  <a:pt x="85" y="330"/>
                  <a:pt x="90" y="336"/>
                  <a:pt x="90" y="344"/>
                </a:cubicBezTo>
                <a:cubicBezTo>
                  <a:pt x="90" y="350"/>
                  <a:pt x="86" y="356"/>
                  <a:pt x="80" y="360"/>
                </a:cubicBezTo>
                <a:cubicBezTo>
                  <a:pt x="85" y="363"/>
                  <a:pt x="89" y="366"/>
                  <a:pt x="89" y="370"/>
                </a:cubicBezTo>
                <a:cubicBezTo>
                  <a:pt x="89" y="377"/>
                  <a:pt x="76" y="382"/>
                  <a:pt x="59" y="384"/>
                </a:cubicBezTo>
                <a:cubicBezTo>
                  <a:pt x="68" y="599"/>
                  <a:pt x="93" y="1003"/>
                  <a:pt x="93" y="1003"/>
                </a:cubicBezTo>
                <a:lnTo>
                  <a:pt x="51" y="1003"/>
                </a:lnTo>
                <a:close/>
                <a:moveTo>
                  <a:pt x="63" y="177"/>
                </a:moveTo>
                <a:cubicBezTo>
                  <a:pt x="63" y="171"/>
                  <a:pt x="59" y="167"/>
                  <a:pt x="53" y="165"/>
                </a:cubicBezTo>
                <a:cubicBezTo>
                  <a:pt x="53" y="94"/>
                  <a:pt x="53" y="94"/>
                  <a:pt x="53" y="94"/>
                </a:cubicBezTo>
                <a:cubicBezTo>
                  <a:pt x="51" y="94"/>
                  <a:pt x="51" y="94"/>
                  <a:pt x="51" y="94"/>
                </a:cubicBezTo>
                <a:cubicBezTo>
                  <a:pt x="51" y="66"/>
                  <a:pt x="51" y="66"/>
                  <a:pt x="51" y="66"/>
                </a:cubicBezTo>
                <a:cubicBezTo>
                  <a:pt x="50" y="66"/>
                  <a:pt x="50" y="66"/>
                  <a:pt x="50" y="66"/>
                </a:cubicBezTo>
                <a:cubicBezTo>
                  <a:pt x="50" y="35"/>
                  <a:pt x="50" y="35"/>
                  <a:pt x="50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0"/>
                  <a:pt x="49" y="0"/>
                  <a:pt x="49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5"/>
                  <a:pt x="44" y="35"/>
                  <a:pt x="44" y="35"/>
                </a:cubicBezTo>
                <a:cubicBezTo>
                  <a:pt x="43" y="35"/>
                  <a:pt x="43" y="35"/>
                  <a:pt x="43" y="35"/>
                </a:cubicBezTo>
                <a:cubicBezTo>
                  <a:pt x="43" y="66"/>
                  <a:pt x="43" y="66"/>
                  <a:pt x="43" y="66"/>
                </a:cubicBezTo>
                <a:cubicBezTo>
                  <a:pt x="42" y="66"/>
                  <a:pt x="42" y="66"/>
                  <a:pt x="42" y="66"/>
                </a:cubicBezTo>
                <a:cubicBezTo>
                  <a:pt x="42" y="94"/>
                  <a:pt x="42" y="94"/>
                  <a:pt x="42" y="94"/>
                </a:cubicBezTo>
                <a:cubicBezTo>
                  <a:pt x="40" y="94"/>
                  <a:pt x="40" y="94"/>
                  <a:pt x="40" y="94"/>
                </a:cubicBezTo>
                <a:cubicBezTo>
                  <a:pt x="40" y="165"/>
                  <a:pt x="40" y="165"/>
                  <a:pt x="40" y="165"/>
                </a:cubicBezTo>
                <a:cubicBezTo>
                  <a:pt x="34" y="167"/>
                  <a:pt x="29" y="171"/>
                  <a:pt x="29" y="177"/>
                </a:cubicBezTo>
                <a:cubicBezTo>
                  <a:pt x="29" y="177"/>
                  <a:pt x="29" y="177"/>
                  <a:pt x="29" y="177"/>
                </a:cubicBezTo>
                <a:cubicBezTo>
                  <a:pt x="63" y="177"/>
                  <a:pt x="63" y="177"/>
                  <a:pt x="63" y="177"/>
                </a:cubicBezTo>
                <a:cubicBezTo>
                  <a:pt x="63" y="177"/>
                  <a:pt x="63" y="177"/>
                  <a:pt x="63" y="177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386689" y="1299380"/>
            <a:ext cx="2541690" cy="2909434"/>
            <a:chOff x="1343" y="-743"/>
            <a:chExt cx="5148" cy="5892"/>
          </a:xfrm>
          <a:solidFill>
            <a:schemeClr val="tx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426" y="-689"/>
              <a:ext cx="745" cy="743"/>
            </a:xfrm>
            <a:custGeom>
              <a:avLst/>
              <a:gdLst>
                <a:gd name="T0" fmla="*/ 315 w 315"/>
                <a:gd name="T1" fmla="*/ 314 h 314"/>
                <a:gd name="T2" fmla="*/ 279 w 315"/>
                <a:gd name="T3" fmla="*/ 314 h 314"/>
                <a:gd name="T4" fmla="*/ 279 w 315"/>
                <a:gd name="T5" fmla="*/ 103 h 314"/>
                <a:gd name="T6" fmla="*/ 282 w 315"/>
                <a:gd name="T7" fmla="*/ 42 h 314"/>
                <a:gd name="T8" fmla="*/ 281 w 315"/>
                <a:gd name="T9" fmla="*/ 42 h 314"/>
                <a:gd name="T10" fmla="*/ 272 w 315"/>
                <a:gd name="T11" fmla="*/ 72 h 314"/>
                <a:gd name="T12" fmla="*/ 166 w 315"/>
                <a:gd name="T13" fmla="*/ 314 h 314"/>
                <a:gd name="T14" fmla="*/ 149 w 315"/>
                <a:gd name="T15" fmla="*/ 314 h 314"/>
                <a:gd name="T16" fmla="*/ 43 w 315"/>
                <a:gd name="T17" fmla="*/ 74 h 314"/>
                <a:gd name="T18" fmla="*/ 34 w 315"/>
                <a:gd name="T19" fmla="*/ 42 h 314"/>
                <a:gd name="T20" fmla="*/ 33 w 315"/>
                <a:gd name="T21" fmla="*/ 42 h 314"/>
                <a:gd name="T22" fmla="*/ 35 w 315"/>
                <a:gd name="T23" fmla="*/ 103 h 314"/>
                <a:gd name="T24" fmla="*/ 35 w 315"/>
                <a:gd name="T25" fmla="*/ 314 h 314"/>
                <a:gd name="T26" fmla="*/ 0 w 315"/>
                <a:gd name="T27" fmla="*/ 314 h 314"/>
                <a:gd name="T28" fmla="*/ 0 w 315"/>
                <a:gd name="T29" fmla="*/ 0 h 314"/>
                <a:gd name="T30" fmla="*/ 48 w 315"/>
                <a:gd name="T31" fmla="*/ 0 h 314"/>
                <a:gd name="T32" fmla="*/ 142 w 315"/>
                <a:gd name="T33" fmla="*/ 219 h 314"/>
                <a:gd name="T34" fmla="*/ 156 w 315"/>
                <a:gd name="T35" fmla="*/ 256 h 314"/>
                <a:gd name="T36" fmla="*/ 158 w 315"/>
                <a:gd name="T37" fmla="*/ 256 h 314"/>
                <a:gd name="T38" fmla="*/ 173 w 315"/>
                <a:gd name="T39" fmla="*/ 218 h 314"/>
                <a:gd name="T40" fmla="*/ 270 w 315"/>
                <a:gd name="T41" fmla="*/ 0 h 314"/>
                <a:gd name="T42" fmla="*/ 315 w 315"/>
                <a:gd name="T43" fmla="*/ 0 h 314"/>
                <a:gd name="T44" fmla="*/ 315 w 315"/>
                <a:gd name="T45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314">
                  <a:moveTo>
                    <a:pt x="315" y="314"/>
                  </a:moveTo>
                  <a:cubicBezTo>
                    <a:pt x="279" y="314"/>
                    <a:pt x="279" y="314"/>
                    <a:pt x="279" y="314"/>
                  </a:cubicBezTo>
                  <a:cubicBezTo>
                    <a:pt x="279" y="103"/>
                    <a:pt x="279" y="103"/>
                    <a:pt x="279" y="103"/>
                  </a:cubicBezTo>
                  <a:cubicBezTo>
                    <a:pt x="279" y="86"/>
                    <a:pt x="280" y="66"/>
                    <a:pt x="282" y="42"/>
                  </a:cubicBezTo>
                  <a:cubicBezTo>
                    <a:pt x="281" y="42"/>
                    <a:pt x="281" y="42"/>
                    <a:pt x="281" y="42"/>
                  </a:cubicBezTo>
                  <a:cubicBezTo>
                    <a:pt x="277" y="56"/>
                    <a:pt x="274" y="66"/>
                    <a:pt x="272" y="72"/>
                  </a:cubicBezTo>
                  <a:cubicBezTo>
                    <a:pt x="166" y="314"/>
                    <a:pt x="166" y="314"/>
                    <a:pt x="166" y="314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0" y="68"/>
                    <a:pt x="37" y="57"/>
                    <a:pt x="34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4" y="54"/>
                    <a:pt x="35" y="75"/>
                    <a:pt x="35" y="103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142" y="219"/>
                    <a:pt x="142" y="219"/>
                    <a:pt x="142" y="219"/>
                  </a:cubicBezTo>
                  <a:cubicBezTo>
                    <a:pt x="150" y="235"/>
                    <a:pt x="154" y="248"/>
                    <a:pt x="156" y="256"/>
                  </a:cubicBezTo>
                  <a:cubicBezTo>
                    <a:pt x="158" y="256"/>
                    <a:pt x="158" y="256"/>
                    <a:pt x="158" y="256"/>
                  </a:cubicBezTo>
                  <a:cubicBezTo>
                    <a:pt x="165" y="236"/>
                    <a:pt x="170" y="223"/>
                    <a:pt x="173" y="218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315" y="0"/>
                    <a:pt x="315" y="0"/>
                    <a:pt x="315" y="0"/>
                  </a:cubicBezTo>
                  <a:lnTo>
                    <a:pt x="315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339" y="-722"/>
              <a:ext cx="111" cy="776"/>
            </a:xfrm>
            <a:custGeom>
              <a:avLst/>
              <a:gdLst>
                <a:gd name="T0" fmla="*/ 47 w 47"/>
                <a:gd name="T1" fmla="*/ 23 h 328"/>
                <a:gd name="T2" fmla="*/ 40 w 47"/>
                <a:gd name="T3" fmla="*/ 40 h 328"/>
                <a:gd name="T4" fmla="*/ 23 w 47"/>
                <a:gd name="T5" fmla="*/ 46 h 328"/>
                <a:gd name="T6" fmla="*/ 7 w 47"/>
                <a:gd name="T7" fmla="*/ 40 h 328"/>
                <a:gd name="T8" fmla="*/ 0 w 47"/>
                <a:gd name="T9" fmla="*/ 23 h 328"/>
                <a:gd name="T10" fmla="*/ 7 w 47"/>
                <a:gd name="T11" fmla="*/ 7 h 328"/>
                <a:gd name="T12" fmla="*/ 23 w 47"/>
                <a:gd name="T13" fmla="*/ 0 h 328"/>
                <a:gd name="T14" fmla="*/ 40 w 47"/>
                <a:gd name="T15" fmla="*/ 7 h 328"/>
                <a:gd name="T16" fmla="*/ 47 w 47"/>
                <a:gd name="T17" fmla="*/ 23 h 328"/>
                <a:gd name="T18" fmla="*/ 41 w 47"/>
                <a:gd name="T19" fmla="*/ 328 h 328"/>
                <a:gd name="T20" fmla="*/ 5 w 47"/>
                <a:gd name="T21" fmla="*/ 328 h 328"/>
                <a:gd name="T22" fmla="*/ 5 w 47"/>
                <a:gd name="T23" fmla="*/ 103 h 328"/>
                <a:gd name="T24" fmla="*/ 41 w 47"/>
                <a:gd name="T25" fmla="*/ 103 h 328"/>
                <a:gd name="T26" fmla="*/ 41 w 47"/>
                <a:gd name="T2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28">
                  <a:moveTo>
                    <a:pt x="47" y="23"/>
                  </a:moveTo>
                  <a:cubicBezTo>
                    <a:pt x="47" y="30"/>
                    <a:pt x="44" y="35"/>
                    <a:pt x="40" y="40"/>
                  </a:cubicBezTo>
                  <a:cubicBezTo>
                    <a:pt x="35" y="44"/>
                    <a:pt x="30" y="46"/>
                    <a:pt x="23" y="46"/>
                  </a:cubicBezTo>
                  <a:cubicBezTo>
                    <a:pt x="17" y="46"/>
                    <a:pt x="11" y="44"/>
                    <a:pt x="7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7"/>
                    <a:pt x="2" y="11"/>
                    <a:pt x="7" y="7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30" y="0"/>
                    <a:pt x="35" y="2"/>
                    <a:pt x="40" y="7"/>
                  </a:cubicBezTo>
                  <a:cubicBezTo>
                    <a:pt x="44" y="11"/>
                    <a:pt x="47" y="17"/>
                    <a:pt x="47" y="23"/>
                  </a:cubicBezTo>
                  <a:close/>
                  <a:moveTo>
                    <a:pt x="41" y="328"/>
                  </a:moveTo>
                  <a:cubicBezTo>
                    <a:pt x="5" y="328"/>
                    <a:pt x="5" y="328"/>
                    <a:pt x="5" y="328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41" y="103"/>
                    <a:pt x="41" y="103"/>
                    <a:pt x="41" y="103"/>
                  </a:cubicBezTo>
                  <a:lnTo>
                    <a:pt x="41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2564" y="-490"/>
              <a:ext cx="393" cy="555"/>
            </a:xfrm>
            <a:custGeom>
              <a:avLst/>
              <a:gdLst>
                <a:gd name="T0" fmla="*/ 166 w 166"/>
                <a:gd name="T1" fmla="*/ 219 h 235"/>
                <a:gd name="T2" fmla="*/ 105 w 166"/>
                <a:gd name="T3" fmla="*/ 235 h 235"/>
                <a:gd name="T4" fmla="*/ 51 w 166"/>
                <a:gd name="T5" fmla="*/ 221 h 235"/>
                <a:gd name="T6" fmla="*/ 14 w 166"/>
                <a:gd name="T7" fmla="*/ 181 h 235"/>
                <a:gd name="T8" fmla="*/ 0 w 166"/>
                <a:gd name="T9" fmla="*/ 123 h 235"/>
                <a:gd name="T10" fmla="*/ 32 w 166"/>
                <a:gd name="T11" fmla="*/ 34 h 235"/>
                <a:gd name="T12" fmla="*/ 115 w 166"/>
                <a:gd name="T13" fmla="*/ 0 h 235"/>
                <a:gd name="T14" fmla="*/ 166 w 166"/>
                <a:gd name="T15" fmla="*/ 11 h 235"/>
                <a:gd name="T16" fmla="*/ 166 w 166"/>
                <a:gd name="T17" fmla="*/ 48 h 235"/>
                <a:gd name="T18" fmla="*/ 114 w 166"/>
                <a:gd name="T19" fmla="*/ 31 h 235"/>
                <a:gd name="T20" fmla="*/ 58 w 166"/>
                <a:gd name="T21" fmla="*/ 55 h 235"/>
                <a:gd name="T22" fmla="*/ 37 w 166"/>
                <a:gd name="T23" fmla="*/ 120 h 235"/>
                <a:gd name="T24" fmla="*/ 57 w 166"/>
                <a:gd name="T25" fmla="*/ 182 h 235"/>
                <a:gd name="T26" fmla="*/ 111 w 166"/>
                <a:gd name="T27" fmla="*/ 204 h 235"/>
                <a:gd name="T28" fmla="*/ 166 w 166"/>
                <a:gd name="T29" fmla="*/ 185 h 235"/>
                <a:gd name="T30" fmla="*/ 166 w 166"/>
                <a:gd name="T31" fmla="*/ 21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6" h="235">
                  <a:moveTo>
                    <a:pt x="166" y="219"/>
                  </a:moveTo>
                  <a:cubicBezTo>
                    <a:pt x="149" y="230"/>
                    <a:pt x="129" y="235"/>
                    <a:pt x="105" y="235"/>
                  </a:cubicBezTo>
                  <a:cubicBezTo>
                    <a:pt x="85" y="235"/>
                    <a:pt x="67" y="230"/>
                    <a:pt x="51" y="221"/>
                  </a:cubicBezTo>
                  <a:cubicBezTo>
                    <a:pt x="35" y="212"/>
                    <a:pt x="23" y="198"/>
                    <a:pt x="14" y="181"/>
                  </a:cubicBezTo>
                  <a:cubicBezTo>
                    <a:pt x="5" y="164"/>
                    <a:pt x="0" y="144"/>
                    <a:pt x="0" y="123"/>
                  </a:cubicBezTo>
                  <a:cubicBezTo>
                    <a:pt x="0" y="86"/>
                    <a:pt x="11" y="56"/>
                    <a:pt x="32" y="34"/>
                  </a:cubicBezTo>
                  <a:cubicBezTo>
                    <a:pt x="53" y="11"/>
                    <a:pt x="80" y="0"/>
                    <a:pt x="115" y="0"/>
                  </a:cubicBezTo>
                  <a:cubicBezTo>
                    <a:pt x="134" y="0"/>
                    <a:pt x="151" y="4"/>
                    <a:pt x="166" y="11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50" y="36"/>
                    <a:pt x="132" y="31"/>
                    <a:pt x="114" y="31"/>
                  </a:cubicBezTo>
                  <a:cubicBezTo>
                    <a:pt x="91" y="31"/>
                    <a:pt x="72" y="39"/>
                    <a:pt x="58" y="55"/>
                  </a:cubicBezTo>
                  <a:cubicBezTo>
                    <a:pt x="44" y="72"/>
                    <a:pt x="37" y="93"/>
                    <a:pt x="37" y="120"/>
                  </a:cubicBezTo>
                  <a:cubicBezTo>
                    <a:pt x="37" y="146"/>
                    <a:pt x="43" y="166"/>
                    <a:pt x="57" y="182"/>
                  </a:cubicBezTo>
                  <a:cubicBezTo>
                    <a:pt x="70" y="197"/>
                    <a:pt x="89" y="204"/>
                    <a:pt x="111" y="204"/>
                  </a:cubicBezTo>
                  <a:cubicBezTo>
                    <a:pt x="131" y="204"/>
                    <a:pt x="149" y="198"/>
                    <a:pt x="166" y="185"/>
                  </a:cubicBezTo>
                  <a:lnTo>
                    <a:pt x="16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3082" y="-48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6 w 115"/>
                <a:gd name="T7" fmla="*/ 114 h 229"/>
                <a:gd name="T8" fmla="*/ 36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6 w 115"/>
                <a:gd name="T15" fmla="*/ 4 h 229"/>
                <a:gd name="T16" fmla="*/ 36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9" y="36"/>
                    <a:pt x="100" y="33"/>
                    <a:pt x="88" y="33"/>
                  </a:cubicBezTo>
                  <a:cubicBezTo>
                    <a:pt x="73" y="33"/>
                    <a:pt x="60" y="41"/>
                    <a:pt x="50" y="56"/>
                  </a:cubicBezTo>
                  <a:cubicBezTo>
                    <a:pt x="40" y="71"/>
                    <a:pt x="36" y="90"/>
                    <a:pt x="36" y="114"/>
                  </a:cubicBezTo>
                  <a:cubicBezTo>
                    <a:pt x="36" y="229"/>
                    <a:pt x="36" y="229"/>
                    <a:pt x="36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9" y="23"/>
                    <a:pt x="59" y="14"/>
                  </a:cubicBezTo>
                  <a:cubicBezTo>
                    <a:pt x="69" y="5"/>
                    <a:pt x="81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3392" y="-490"/>
              <a:ext cx="513" cy="555"/>
            </a:xfrm>
            <a:custGeom>
              <a:avLst/>
              <a:gdLst>
                <a:gd name="T0" fmla="*/ 217 w 217"/>
                <a:gd name="T1" fmla="*/ 117 h 235"/>
                <a:gd name="T2" fmla="*/ 188 w 217"/>
                <a:gd name="T3" fmla="*/ 203 h 235"/>
                <a:gd name="T4" fmla="*/ 108 w 217"/>
                <a:gd name="T5" fmla="*/ 235 h 235"/>
                <a:gd name="T6" fmla="*/ 29 w 217"/>
                <a:gd name="T7" fmla="*/ 203 h 235"/>
                <a:gd name="T8" fmla="*/ 0 w 217"/>
                <a:gd name="T9" fmla="*/ 120 h 235"/>
                <a:gd name="T10" fmla="*/ 30 w 217"/>
                <a:gd name="T11" fmla="*/ 32 h 235"/>
                <a:gd name="T12" fmla="*/ 113 w 217"/>
                <a:gd name="T13" fmla="*/ 0 h 235"/>
                <a:gd name="T14" fmla="*/ 190 w 217"/>
                <a:gd name="T15" fmla="*/ 31 h 235"/>
                <a:gd name="T16" fmla="*/ 217 w 217"/>
                <a:gd name="T17" fmla="*/ 117 h 235"/>
                <a:gd name="T18" fmla="*/ 181 w 217"/>
                <a:gd name="T19" fmla="*/ 118 h 235"/>
                <a:gd name="T20" fmla="*/ 163 w 217"/>
                <a:gd name="T21" fmla="*/ 53 h 235"/>
                <a:gd name="T22" fmla="*/ 110 w 217"/>
                <a:gd name="T23" fmla="*/ 31 h 235"/>
                <a:gd name="T24" fmla="*/ 56 w 217"/>
                <a:gd name="T25" fmla="*/ 54 h 235"/>
                <a:gd name="T26" fmla="*/ 36 w 217"/>
                <a:gd name="T27" fmla="*/ 119 h 235"/>
                <a:gd name="T28" fmla="*/ 56 w 217"/>
                <a:gd name="T29" fmla="*/ 182 h 235"/>
                <a:gd name="T30" fmla="*/ 110 w 217"/>
                <a:gd name="T31" fmla="*/ 204 h 235"/>
                <a:gd name="T32" fmla="*/ 163 w 217"/>
                <a:gd name="T33" fmla="*/ 182 h 235"/>
                <a:gd name="T34" fmla="*/ 181 w 217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35">
                  <a:moveTo>
                    <a:pt x="217" y="117"/>
                  </a:moveTo>
                  <a:cubicBezTo>
                    <a:pt x="217" y="152"/>
                    <a:pt x="207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29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5" y="0"/>
                    <a:pt x="171" y="10"/>
                    <a:pt x="190" y="31"/>
                  </a:cubicBezTo>
                  <a:cubicBezTo>
                    <a:pt x="208" y="52"/>
                    <a:pt x="217" y="80"/>
                    <a:pt x="217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7" y="31"/>
                    <a:pt x="69" y="38"/>
                    <a:pt x="56" y="54"/>
                  </a:cubicBezTo>
                  <a:cubicBezTo>
                    <a:pt x="43" y="69"/>
                    <a:pt x="36" y="91"/>
                    <a:pt x="36" y="119"/>
                  </a:cubicBezTo>
                  <a:cubicBezTo>
                    <a:pt x="36" y="146"/>
                    <a:pt x="43" y="167"/>
                    <a:pt x="56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4000" y="-490"/>
              <a:ext cx="322" cy="555"/>
            </a:xfrm>
            <a:custGeom>
              <a:avLst/>
              <a:gdLst>
                <a:gd name="T0" fmla="*/ 136 w 136"/>
                <a:gd name="T1" fmla="*/ 170 h 235"/>
                <a:gd name="T2" fmla="*/ 113 w 136"/>
                <a:gd name="T3" fmla="*/ 217 h 235"/>
                <a:gd name="T4" fmla="*/ 55 w 136"/>
                <a:gd name="T5" fmla="*/ 235 h 235"/>
                <a:gd name="T6" fmla="*/ 0 w 136"/>
                <a:gd name="T7" fmla="*/ 222 h 235"/>
                <a:gd name="T8" fmla="*/ 0 w 136"/>
                <a:gd name="T9" fmla="*/ 183 h 235"/>
                <a:gd name="T10" fmla="*/ 57 w 136"/>
                <a:gd name="T11" fmla="*/ 204 h 235"/>
                <a:gd name="T12" fmla="*/ 99 w 136"/>
                <a:gd name="T13" fmla="*/ 173 h 235"/>
                <a:gd name="T14" fmla="*/ 91 w 136"/>
                <a:gd name="T15" fmla="*/ 152 h 235"/>
                <a:gd name="T16" fmla="*/ 54 w 136"/>
                <a:gd name="T17" fmla="*/ 131 h 235"/>
                <a:gd name="T18" fmla="*/ 13 w 136"/>
                <a:gd name="T19" fmla="*/ 104 h 235"/>
                <a:gd name="T20" fmla="*/ 0 w 136"/>
                <a:gd name="T21" fmla="*/ 65 h 235"/>
                <a:gd name="T22" fmla="*/ 22 w 136"/>
                <a:gd name="T23" fmla="*/ 18 h 235"/>
                <a:gd name="T24" fmla="*/ 78 w 136"/>
                <a:gd name="T25" fmla="*/ 0 h 235"/>
                <a:gd name="T26" fmla="*/ 125 w 136"/>
                <a:gd name="T27" fmla="*/ 10 h 235"/>
                <a:gd name="T28" fmla="*/ 125 w 136"/>
                <a:gd name="T29" fmla="*/ 47 h 235"/>
                <a:gd name="T30" fmla="*/ 75 w 136"/>
                <a:gd name="T31" fmla="*/ 31 h 235"/>
                <a:gd name="T32" fmla="*/ 47 w 136"/>
                <a:gd name="T33" fmla="*/ 39 h 235"/>
                <a:gd name="T34" fmla="*/ 37 w 136"/>
                <a:gd name="T35" fmla="*/ 62 h 235"/>
                <a:gd name="T36" fmla="*/ 45 w 136"/>
                <a:gd name="T37" fmla="*/ 85 h 235"/>
                <a:gd name="T38" fmla="*/ 79 w 136"/>
                <a:gd name="T39" fmla="*/ 104 h 235"/>
                <a:gd name="T40" fmla="*/ 123 w 136"/>
                <a:gd name="T41" fmla="*/ 132 h 235"/>
                <a:gd name="T42" fmla="*/ 136 w 136"/>
                <a:gd name="T43" fmla="*/ 17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6" h="235">
                  <a:moveTo>
                    <a:pt x="136" y="170"/>
                  </a:moveTo>
                  <a:cubicBezTo>
                    <a:pt x="136" y="189"/>
                    <a:pt x="128" y="205"/>
                    <a:pt x="113" y="217"/>
                  </a:cubicBezTo>
                  <a:cubicBezTo>
                    <a:pt x="99" y="229"/>
                    <a:pt x="79" y="235"/>
                    <a:pt x="55" y="235"/>
                  </a:cubicBezTo>
                  <a:cubicBezTo>
                    <a:pt x="34" y="235"/>
                    <a:pt x="16" y="231"/>
                    <a:pt x="0" y="222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17" y="197"/>
                    <a:pt x="37" y="204"/>
                    <a:pt x="57" y="204"/>
                  </a:cubicBezTo>
                  <a:cubicBezTo>
                    <a:pt x="85" y="204"/>
                    <a:pt x="99" y="194"/>
                    <a:pt x="99" y="173"/>
                  </a:cubicBezTo>
                  <a:cubicBezTo>
                    <a:pt x="99" y="165"/>
                    <a:pt x="97" y="158"/>
                    <a:pt x="91" y="152"/>
                  </a:cubicBezTo>
                  <a:cubicBezTo>
                    <a:pt x="86" y="147"/>
                    <a:pt x="73" y="140"/>
                    <a:pt x="54" y="131"/>
                  </a:cubicBezTo>
                  <a:cubicBezTo>
                    <a:pt x="34" y="122"/>
                    <a:pt x="21" y="113"/>
                    <a:pt x="13" y="104"/>
                  </a:cubicBezTo>
                  <a:cubicBezTo>
                    <a:pt x="5" y="94"/>
                    <a:pt x="0" y="81"/>
                    <a:pt x="0" y="65"/>
                  </a:cubicBezTo>
                  <a:cubicBezTo>
                    <a:pt x="0" y="46"/>
                    <a:pt x="8" y="31"/>
                    <a:pt x="22" y="18"/>
                  </a:cubicBezTo>
                  <a:cubicBezTo>
                    <a:pt x="37" y="6"/>
                    <a:pt x="56" y="0"/>
                    <a:pt x="78" y="0"/>
                  </a:cubicBezTo>
                  <a:cubicBezTo>
                    <a:pt x="96" y="0"/>
                    <a:pt x="111" y="3"/>
                    <a:pt x="125" y="10"/>
                  </a:cubicBezTo>
                  <a:cubicBezTo>
                    <a:pt x="125" y="47"/>
                    <a:pt x="125" y="47"/>
                    <a:pt x="125" y="47"/>
                  </a:cubicBezTo>
                  <a:cubicBezTo>
                    <a:pt x="111" y="36"/>
                    <a:pt x="94" y="31"/>
                    <a:pt x="75" y="31"/>
                  </a:cubicBezTo>
                  <a:cubicBezTo>
                    <a:pt x="64" y="31"/>
                    <a:pt x="54" y="33"/>
                    <a:pt x="47" y="39"/>
                  </a:cubicBezTo>
                  <a:cubicBezTo>
                    <a:pt x="40" y="45"/>
                    <a:pt x="37" y="53"/>
                    <a:pt x="37" y="62"/>
                  </a:cubicBezTo>
                  <a:cubicBezTo>
                    <a:pt x="37" y="72"/>
                    <a:pt x="39" y="79"/>
                    <a:pt x="45" y="85"/>
                  </a:cubicBezTo>
                  <a:cubicBezTo>
                    <a:pt x="50" y="90"/>
                    <a:pt x="62" y="96"/>
                    <a:pt x="79" y="104"/>
                  </a:cubicBezTo>
                  <a:cubicBezTo>
                    <a:pt x="100" y="113"/>
                    <a:pt x="114" y="122"/>
                    <a:pt x="123" y="132"/>
                  </a:cubicBezTo>
                  <a:cubicBezTo>
                    <a:pt x="131" y="142"/>
                    <a:pt x="136" y="155"/>
                    <a:pt x="13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4402" y="-490"/>
              <a:ext cx="516" cy="555"/>
            </a:xfrm>
            <a:custGeom>
              <a:avLst/>
              <a:gdLst>
                <a:gd name="T0" fmla="*/ 218 w 218"/>
                <a:gd name="T1" fmla="*/ 117 h 235"/>
                <a:gd name="T2" fmla="*/ 188 w 218"/>
                <a:gd name="T3" fmla="*/ 203 h 235"/>
                <a:gd name="T4" fmla="*/ 108 w 218"/>
                <a:gd name="T5" fmla="*/ 235 h 235"/>
                <a:gd name="T6" fmla="*/ 30 w 218"/>
                <a:gd name="T7" fmla="*/ 203 h 235"/>
                <a:gd name="T8" fmla="*/ 0 w 218"/>
                <a:gd name="T9" fmla="*/ 120 h 235"/>
                <a:gd name="T10" fmla="*/ 30 w 218"/>
                <a:gd name="T11" fmla="*/ 32 h 235"/>
                <a:gd name="T12" fmla="*/ 113 w 218"/>
                <a:gd name="T13" fmla="*/ 0 h 235"/>
                <a:gd name="T14" fmla="*/ 190 w 218"/>
                <a:gd name="T15" fmla="*/ 31 h 235"/>
                <a:gd name="T16" fmla="*/ 218 w 218"/>
                <a:gd name="T17" fmla="*/ 117 h 235"/>
                <a:gd name="T18" fmla="*/ 181 w 218"/>
                <a:gd name="T19" fmla="*/ 118 h 235"/>
                <a:gd name="T20" fmla="*/ 163 w 218"/>
                <a:gd name="T21" fmla="*/ 53 h 235"/>
                <a:gd name="T22" fmla="*/ 110 w 218"/>
                <a:gd name="T23" fmla="*/ 31 h 235"/>
                <a:gd name="T24" fmla="*/ 57 w 218"/>
                <a:gd name="T25" fmla="*/ 54 h 235"/>
                <a:gd name="T26" fmla="*/ 37 w 218"/>
                <a:gd name="T27" fmla="*/ 119 h 235"/>
                <a:gd name="T28" fmla="*/ 57 w 218"/>
                <a:gd name="T29" fmla="*/ 182 h 235"/>
                <a:gd name="T30" fmla="*/ 110 w 218"/>
                <a:gd name="T31" fmla="*/ 204 h 235"/>
                <a:gd name="T32" fmla="*/ 163 w 218"/>
                <a:gd name="T33" fmla="*/ 182 h 235"/>
                <a:gd name="T34" fmla="*/ 181 w 218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8" h="235">
                  <a:moveTo>
                    <a:pt x="218" y="117"/>
                  </a:moveTo>
                  <a:cubicBezTo>
                    <a:pt x="218" y="152"/>
                    <a:pt x="208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30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6" y="0"/>
                    <a:pt x="171" y="10"/>
                    <a:pt x="190" y="31"/>
                  </a:cubicBezTo>
                  <a:cubicBezTo>
                    <a:pt x="208" y="52"/>
                    <a:pt x="218" y="80"/>
                    <a:pt x="218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8" y="31"/>
                    <a:pt x="70" y="38"/>
                    <a:pt x="57" y="54"/>
                  </a:cubicBezTo>
                  <a:cubicBezTo>
                    <a:pt x="43" y="69"/>
                    <a:pt x="37" y="91"/>
                    <a:pt x="37" y="119"/>
                  </a:cubicBezTo>
                  <a:cubicBezTo>
                    <a:pt x="37" y="146"/>
                    <a:pt x="43" y="167"/>
                    <a:pt x="57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4970" y="-743"/>
              <a:ext cx="314" cy="797"/>
            </a:xfrm>
            <a:custGeom>
              <a:avLst/>
              <a:gdLst>
                <a:gd name="T0" fmla="*/ 133 w 133"/>
                <a:gd name="T1" fmla="*/ 36 h 337"/>
                <a:gd name="T2" fmla="*/ 110 w 133"/>
                <a:gd name="T3" fmla="*/ 30 h 337"/>
                <a:gd name="T4" fmla="*/ 73 w 133"/>
                <a:gd name="T5" fmla="*/ 78 h 337"/>
                <a:gd name="T6" fmla="*/ 73 w 133"/>
                <a:gd name="T7" fmla="*/ 112 h 337"/>
                <a:gd name="T8" fmla="*/ 125 w 133"/>
                <a:gd name="T9" fmla="*/ 112 h 337"/>
                <a:gd name="T10" fmla="*/ 125 w 133"/>
                <a:gd name="T11" fmla="*/ 143 h 337"/>
                <a:gd name="T12" fmla="*/ 73 w 133"/>
                <a:gd name="T13" fmla="*/ 143 h 337"/>
                <a:gd name="T14" fmla="*/ 73 w 133"/>
                <a:gd name="T15" fmla="*/ 337 h 337"/>
                <a:gd name="T16" fmla="*/ 38 w 133"/>
                <a:gd name="T17" fmla="*/ 337 h 337"/>
                <a:gd name="T18" fmla="*/ 38 w 133"/>
                <a:gd name="T19" fmla="*/ 143 h 337"/>
                <a:gd name="T20" fmla="*/ 0 w 133"/>
                <a:gd name="T21" fmla="*/ 143 h 337"/>
                <a:gd name="T22" fmla="*/ 0 w 133"/>
                <a:gd name="T23" fmla="*/ 112 h 337"/>
                <a:gd name="T24" fmla="*/ 38 w 133"/>
                <a:gd name="T25" fmla="*/ 112 h 337"/>
                <a:gd name="T26" fmla="*/ 38 w 133"/>
                <a:gd name="T27" fmla="*/ 76 h 337"/>
                <a:gd name="T28" fmla="*/ 57 w 133"/>
                <a:gd name="T29" fmla="*/ 21 h 337"/>
                <a:gd name="T30" fmla="*/ 108 w 133"/>
                <a:gd name="T31" fmla="*/ 0 h 337"/>
                <a:gd name="T32" fmla="*/ 133 w 133"/>
                <a:gd name="T33" fmla="*/ 4 h 337"/>
                <a:gd name="T34" fmla="*/ 133 w 133"/>
                <a:gd name="T35" fmla="*/ 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337">
                  <a:moveTo>
                    <a:pt x="133" y="36"/>
                  </a:moveTo>
                  <a:cubicBezTo>
                    <a:pt x="127" y="32"/>
                    <a:pt x="119" y="30"/>
                    <a:pt x="110" y="30"/>
                  </a:cubicBezTo>
                  <a:cubicBezTo>
                    <a:pt x="85" y="30"/>
                    <a:pt x="73" y="46"/>
                    <a:pt x="73" y="78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125" y="143"/>
                    <a:pt x="125" y="143"/>
                    <a:pt x="125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337"/>
                    <a:pt x="73" y="337"/>
                    <a:pt x="73" y="337"/>
                  </a:cubicBezTo>
                  <a:cubicBezTo>
                    <a:pt x="38" y="337"/>
                    <a:pt x="38" y="337"/>
                    <a:pt x="38" y="337"/>
                  </a:cubicBezTo>
                  <a:cubicBezTo>
                    <a:pt x="38" y="143"/>
                    <a:pt x="38" y="143"/>
                    <a:pt x="38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53"/>
                    <a:pt x="44" y="35"/>
                    <a:pt x="57" y="21"/>
                  </a:cubicBezTo>
                  <a:cubicBezTo>
                    <a:pt x="71" y="7"/>
                    <a:pt x="87" y="0"/>
                    <a:pt x="108" y="0"/>
                  </a:cubicBezTo>
                  <a:cubicBezTo>
                    <a:pt x="119" y="0"/>
                    <a:pt x="127" y="1"/>
                    <a:pt x="133" y="4"/>
                  </a:cubicBezTo>
                  <a:lnTo>
                    <a:pt x="133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10" y="-635"/>
              <a:ext cx="305" cy="700"/>
            </a:xfrm>
            <a:custGeom>
              <a:avLst/>
              <a:gdLst>
                <a:gd name="T0" fmla="*/ 129 w 129"/>
                <a:gd name="T1" fmla="*/ 288 h 296"/>
                <a:gd name="T2" fmla="*/ 96 w 129"/>
                <a:gd name="T3" fmla="*/ 296 h 296"/>
                <a:gd name="T4" fmla="*/ 38 w 129"/>
                <a:gd name="T5" fmla="*/ 230 h 296"/>
                <a:gd name="T6" fmla="*/ 38 w 129"/>
                <a:gd name="T7" fmla="*/ 97 h 296"/>
                <a:gd name="T8" fmla="*/ 0 w 129"/>
                <a:gd name="T9" fmla="*/ 97 h 296"/>
                <a:gd name="T10" fmla="*/ 0 w 129"/>
                <a:gd name="T11" fmla="*/ 66 h 296"/>
                <a:gd name="T12" fmla="*/ 38 w 129"/>
                <a:gd name="T13" fmla="*/ 66 h 296"/>
                <a:gd name="T14" fmla="*/ 38 w 129"/>
                <a:gd name="T15" fmla="*/ 12 h 296"/>
                <a:gd name="T16" fmla="*/ 73 w 129"/>
                <a:gd name="T17" fmla="*/ 0 h 296"/>
                <a:gd name="T18" fmla="*/ 73 w 129"/>
                <a:gd name="T19" fmla="*/ 66 h 296"/>
                <a:gd name="T20" fmla="*/ 129 w 129"/>
                <a:gd name="T21" fmla="*/ 66 h 296"/>
                <a:gd name="T22" fmla="*/ 129 w 129"/>
                <a:gd name="T23" fmla="*/ 97 h 296"/>
                <a:gd name="T24" fmla="*/ 73 w 129"/>
                <a:gd name="T25" fmla="*/ 97 h 296"/>
                <a:gd name="T26" fmla="*/ 73 w 129"/>
                <a:gd name="T27" fmla="*/ 223 h 296"/>
                <a:gd name="T28" fmla="*/ 81 w 129"/>
                <a:gd name="T29" fmla="*/ 255 h 296"/>
                <a:gd name="T30" fmla="*/ 106 w 129"/>
                <a:gd name="T31" fmla="*/ 265 h 296"/>
                <a:gd name="T32" fmla="*/ 129 w 129"/>
                <a:gd name="T33" fmla="*/ 258 h 296"/>
                <a:gd name="T34" fmla="*/ 129 w 129"/>
                <a:gd name="T35" fmla="*/ 2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296">
                  <a:moveTo>
                    <a:pt x="129" y="288"/>
                  </a:moveTo>
                  <a:cubicBezTo>
                    <a:pt x="120" y="293"/>
                    <a:pt x="109" y="296"/>
                    <a:pt x="96" y="296"/>
                  </a:cubicBezTo>
                  <a:cubicBezTo>
                    <a:pt x="57" y="296"/>
                    <a:pt x="38" y="274"/>
                    <a:pt x="38" y="230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238"/>
                    <a:pt x="76" y="249"/>
                    <a:pt x="81" y="255"/>
                  </a:cubicBezTo>
                  <a:cubicBezTo>
                    <a:pt x="86" y="262"/>
                    <a:pt x="94" y="265"/>
                    <a:pt x="106" y="265"/>
                  </a:cubicBezTo>
                  <a:cubicBezTo>
                    <a:pt x="115" y="265"/>
                    <a:pt x="122" y="263"/>
                    <a:pt x="129" y="258"/>
                  </a:cubicBezTo>
                  <a:lnTo>
                    <a:pt x="129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343" y="434"/>
              <a:ext cx="949" cy="743"/>
            </a:xfrm>
            <a:custGeom>
              <a:avLst/>
              <a:gdLst>
                <a:gd name="T0" fmla="*/ 401 w 401"/>
                <a:gd name="T1" fmla="*/ 0 h 314"/>
                <a:gd name="T2" fmla="*/ 314 w 401"/>
                <a:gd name="T3" fmla="*/ 314 h 314"/>
                <a:gd name="T4" fmla="*/ 271 w 401"/>
                <a:gd name="T5" fmla="*/ 314 h 314"/>
                <a:gd name="T6" fmla="*/ 208 w 401"/>
                <a:gd name="T7" fmla="*/ 84 h 314"/>
                <a:gd name="T8" fmla="*/ 203 w 401"/>
                <a:gd name="T9" fmla="*/ 52 h 314"/>
                <a:gd name="T10" fmla="*/ 202 w 401"/>
                <a:gd name="T11" fmla="*/ 52 h 314"/>
                <a:gd name="T12" fmla="*/ 196 w 401"/>
                <a:gd name="T13" fmla="*/ 83 h 314"/>
                <a:gd name="T14" fmla="*/ 132 w 401"/>
                <a:gd name="T15" fmla="*/ 314 h 314"/>
                <a:gd name="T16" fmla="*/ 90 w 401"/>
                <a:gd name="T17" fmla="*/ 314 h 314"/>
                <a:gd name="T18" fmla="*/ 0 w 401"/>
                <a:gd name="T19" fmla="*/ 0 h 314"/>
                <a:gd name="T20" fmla="*/ 40 w 401"/>
                <a:gd name="T21" fmla="*/ 0 h 314"/>
                <a:gd name="T22" fmla="*/ 105 w 401"/>
                <a:gd name="T23" fmla="*/ 240 h 314"/>
                <a:gd name="T24" fmla="*/ 111 w 401"/>
                <a:gd name="T25" fmla="*/ 272 h 314"/>
                <a:gd name="T26" fmla="*/ 112 w 401"/>
                <a:gd name="T27" fmla="*/ 272 h 314"/>
                <a:gd name="T28" fmla="*/ 118 w 401"/>
                <a:gd name="T29" fmla="*/ 240 h 314"/>
                <a:gd name="T30" fmla="*/ 187 w 401"/>
                <a:gd name="T31" fmla="*/ 0 h 314"/>
                <a:gd name="T32" fmla="*/ 222 w 401"/>
                <a:gd name="T33" fmla="*/ 0 h 314"/>
                <a:gd name="T34" fmla="*/ 287 w 401"/>
                <a:gd name="T35" fmla="*/ 242 h 314"/>
                <a:gd name="T36" fmla="*/ 292 w 401"/>
                <a:gd name="T37" fmla="*/ 271 h 314"/>
                <a:gd name="T38" fmla="*/ 293 w 401"/>
                <a:gd name="T39" fmla="*/ 271 h 314"/>
                <a:gd name="T40" fmla="*/ 299 w 401"/>
                <a:gd name="T41" fmla="*/ 241 h 314"/>
                <a:gd name="T42" fmla="*/ 362 w 401"/>
                <a:gd name="T43" fmla="*/ 0 h 314"/>
                <a:gd name="T44" fmla="*/ 401 w 401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1" h="314">
                  <a:moveTo>
                    <a:pt x="401" y="0"/>
                  </a:moveTo>
                  <a:cubicBezTo>
                    <a:pt x="314" y="314"/>
                    <a:pt x="314" y="314"/>
                    <a:pt x="314" y="314"/>
                  </a:cubicBezTo>
                  <a:cubicBezTo>
                    <a:pt x="271" y="314"/>
                    <a:pt x="271" y="314"/>
                    <a:pt x="271" y="314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05" y="75"/>
                    <a:pt x="204" y="65"/>
                    <a:pt x="203" y="52"/>
                  </a:cubicBezTo>
                  <a:cubicBezTo>
                    <a:pt x="202" y="52"/>
                    <a:pt x="202" y="52"/>
                    <a:pt x="202" y="52"/>
                  </a:cubicBezTo>
                  <a:cubicBezTo>
                    <a:pt x="201" y="63"/>
                    <a:pt x="199" y="73"/>
                    <a:pt x="196" y="83"/>
                  </a:cubicBezTo>
                  <a:cubicBezTo>
                    <a:pt x="132" y="314"/>
                    <a:pt x="132" y="314"/>
                    <a:pt x="132" y="314"/>
                  </a:cubicBezTo>
                  <a:cubicBezTo>
                    <a:pt x="90" y="314"/>
                    <a:pt x="90" y="314"/>
                    <a:pt x="9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08" y="251"/>
                    <a:pt x="110" y="262"/>
                    <a:pt x="111" y="272"/>
                  </a:cubicBezTo>
                  <a:cubicBezTo>
                    <a:pt x="112" y="272"/>
                    <a:pt x="112" y="272"/>
                    <a:pt x="112" y="272"/>
                  </a:cubicBezTo>
                  <a:cubicBezTo>
                    <a:pt x="112" y="263"/>
                    <a:pt x="115" y="253"/>
                    <a:pt x="118" y="24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7" y="242"/>
                    <a:pt x="287" y="242"/>
                    <a:pt x="287" y="242"/>
                  </a:cubicBezTo>
                  <a:cubicBezTo>
                    <a:pt x="289" y="251"/>
                    <a:pt x="291" y="261"/>
                    <a:pt x="292" y="271"/>
                  </a:cubicBezTo>
                  <a:cubicBezTo>
                    <a:pt x="293" y="271"/>
                    <a:pt x="293" y="271"/>
                    <a:pt x="293" y="271"/>
                  </a:cubicBezTo>
                  <a:cubicBezTo>
                    <a:pt x="294" y="264"/>
                    <a:pt x="296" y="254"/>
                    <a:pt x="299" y="241"/>
                  </a:cubicBezTo>
                  <a:cubicBezTo>
                    <a:pt x="362" y="0"/>
                    <a:pt x="362" y="0"/>
                    <a:pt x="362" y="0"/>
                  </a:cubicBezTo>
                  <a:lnTo>
                    <a:pt x="4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3" name="Freeform 15"/>
            <p:cNvSpPr>
              <a:spLocks noEditPoints="1"/>
            </p:cNvSpPr>
            <p:nvPr userDrawn="1"/>
          </p:nvSpPr>
          <p:spPr bwMode="auto">
            <a:xfrm>
              <a:off x="2325" y="633"/>
              <a:ext cx="513" cy="556"/>
            </a:xfrm>
            <a:custGeom>
              <a:avLst/>
              <a:gdLst>
                <a:gd name="T0" fmla="*/ 217 w 217"/>
                <a:gd name="T1" fmla="*/ 117 h 235"/>
                <a:gd name="T2" fmla="*/ 187 w 217"/>
                <a:gd name="T3" fmla="*/ 203 h 235"/>
                <a:gd name="T4" fmla="*/ 107 w 217"/>
                <a:gd name="T5" fmla="*/ 235 h 235"/>
                <a:gd name="T6" fmla="*/ 29 w 217"/>
                <a:gd name="T7" fmla="*/ 203 h 235"/>
                <a:gd name="T8" fmla="*/ 0 w 217"/>
                <a:gd name="T9" fmla="*/ 120 h 235"/>
                <a:gd name="T10" fmla="*/ 30 w 217"/>
                <a:gd name="T11" fmla="*/ 32 h 235"/>
                <a:gd name="T12" fmla="*/ 112 w 217"/>
                <a:gd name="T13" fmla="*/ 0 h 235"/>
                <a:gd name="T14" fmla="*/ 189 w 217"/>
                <a:gd name="T15" fmla="*/ 31 h 235"/>
                <a:gd name="T16" fmla="*/ 217 w 217"/>
                <a:gd name="T17" fmla="*/ 117 h 235"/>
                <a:gd name="T18" fmla="*/ 181 w 217"/>
                <a:gd name="T19" fmla="*/ 118 h 235"/>
                <a:gd name="T20" fmla="*/ 162 w 217"/>
                <a:gd name="T21" fmla="*/ 53 h 235"/>
                <a:gd name="T22" fmla="*/ 110 w 217"/>
                <a:gd name="T23" fmla="*/ 31 h 235"/>
                <a:gd name="T24" fmla="*/ 56 w 217"/>
                <a:gd name="T25" fmla="*/ 54 h 235"/>
                <a:gd name="T26" fmla="*/ 36 w 217"/>
                <a:gd name="T27" fmla="*/ 119 h 235"/>
                <a:gd name="T28" fmla="*/ 56 w 217"/>
                <a:gd name="T29" fmla="*/ 182 h 235"/>
                <a:gd name="T30" fmla="*/ 110 w 217"/>
                <a:gd name="T31" fmla="*/ 204 h 235"/>
                <a:gd name="T32" fmla="*/ 163 w 217"/>
                <a:gd name="T33" fmla="*/ 182 h 235"/>
                <a:gd name="T34" fmla="*/ 181 w 217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35">
                  <a:moveTo>
                    <a:pt x="217" y="117"/>
                  </a:moveTo>
                  <a:cubicBezTo>
                    <a:pt x="217" y="152"/>
                    <a:pt x="207" y="181"/>
                    <a:pt x="187" y="203"/>
                  </a:cubicBezTo>
                  <a:cubicBezTo>
                    <a:pt x="167" y="224"/>
                    <a:pt x="141" y="235"/>
                    <a:pt x="107" y="235"/>
                  </a:cubicBezTo>
                  <a:cubicBezTo>
                    <a:pt x="75" y="235"/>
                    <a:pt x="48" y="225"/>
                    <a:pt x="29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7" y="0"/>
                    <a:pt x="112" y="0"/>
                  </a:cubicBezTo>
                  <a:cubicBezTo>
                    <a:pt x="145" y="0"/>
                    <a:pt x="171" y="10"/>
                    <a:pt x="189" y="31"/>
                  </a:cubicBezTo>
                  <a:cubicBezTo>
                    <a:pt x="208" y="52"/>
                    <a:pt x="217" y="80"/>
                    <a:pt x="217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2" y="53"/>
                  </a:cubicBezTo>
                  <a:cubicBezTo>
                    <a:pt x="150" y="38"/>
                    <a:pt x="133" y="31"/>
                    <a:pt x="110" y="31"/>
                  </a:cubicBezTo>
                  <a:cubicBezTo>
                    <a:pt x="87" y="31"/>
                    <a:pt x="69" y="38"/>
                    <a:pt x="56" y="54"/>
                  </a:cubicBezTo>
                  <a:cubicBezTo>
                    <a:pt x="43" y="69"/>
                    <a:pt x="36" y="91"/>
                    <a:pt x="36" y="119"/>
                  </a:cubicBezTo>
                  <a:cubicBezTo>
                    <a:pt x="36" y="146"/>
                    <a:pt x="43" y="167"/>
                    <a:pt x="56" y="182"/>
                  </a:cubicBezTo>
                  <a:cubicBezTo>
                    <a:pt x="69" y="197"/>
                    <a:pt x="87" y="204"/>
                    <a:pt x="110" y="204"/>
                  </a:cubicBezTo>
                  <a:cubicBezTo>
                    <a:pt x="133" y="204"/>
                    <a:pt x="150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" name="Freeform 16"/>
            <p:cNvSpPr>
              <a:spLocks/>
            </p:cNvSpPr>
            <p:nvPr userDrawn="1"/>
          </p:nvSpPr>
          <p:spPr bwMode="auto">
            <a:xfrm>
              <a:off x="2968" y="635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100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9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" name="Rectangle 17"/>
            <p:cNvSpPr>
              <a:spLocks noChangeArrowheads="1"/>
            </p:cNvSpPr>
            <p:nvPr userDrawn="1"/>
          </p:nvSpPr>
          <p:spPr bwMode="auto">
            <a:xfrm>
              <a:off x="3330" y="392"/>
              <a:ext cx="86" cy="7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18"/>
            <p:cNvSpPr>
              <a:spLocks noEditPoints="1"/>
            </p:cNvSpPr>
            <p:nvPr userDrawn="1"/>
          </p:nvSpPr>
          <p:spPr bwMode="auto">
            <a:xfrm>
              <a:off x="3543" y="392"/>
              <a:ext cx="483" cy="797"/>
            </a:xfrm>
            <a:custGeom>
              <a:avLst/>
              <a:gdLst>
                <a:gd name="T0" fmla="*/ 204 w 204"/>
                <a:gd name="T1" fmla="*/ 332 h 337"/>
                <a:gd name="T2" fmla="*/ 168 w 204"/>
                <a:gd name="T3" fmla="*/ 332 h 337"/>
                <a:gd name="T4" fmla="*/ 168 w 204"/>
                <a:gd name="T5" fmla="*/ 294 h 337"/>
                <a:gd name="T6" fmla="*/ 168 w 204"/>
                <a:gd name="T7" fmla="*/ 294 h 337"/>
                <a:gd name="T8" fmla="*/ 92 w 204"/>
                <a:gd name="T9" fmla="*/ 337 h 337"/>
                <a:gd name="T10" fmla="*/ 25 w 204"/>
                <a:gd name="T11" fmla="*/ 307 h 337"/>
                <a:gd name="T12" fmla="*/ 0 w 204"/>
                <a:gd name="T13" fmla="*/ 225 h 337"/>
                <a:gd name="T14" fmla="*/ 28 w 204"/>
                <a:gd name="T15" fmla="*/ 136 h 337"/>
                <a:gd name="T16" fmla="*/ 101 w 204"/>
                <a:gd name="T17" fmla="*/ 102 h 337"/>
                <a:gd name="T18" fmla="*/ 168 w 204"/>
                <a:gd name="T19" fmla="*/ 138 h 337"/>
                <a:gd name="T20" fmla="*/ 168 w 204"/>
                <a:gd name="T21" fmla="*/ 138 h 337"/>
                <a:gd name="T22" fmla="*/ 168 w 204"/>
                <a:gd name="T23" fmla="*/ 0 h 337"/>
                <a:gd name="T24" fmla="*/ 204 w 204"/>
                <a:gd name="T25" fmla="*/ 0 h 337"/>
                <a:gd name="T26" fmla="*/ 204 w 204"/>
                <a:gd name="T27" fmla="*/ 332 h 337"/>
                <a:gd name="T28" fmla="*/ 168 w 204"/>
                <a:gd name="T29" fmla="*/ 230 h 337"/>
                <a:gd name="T30" fmla="*/ 168 w 204"/>
                <a:gd name="T31" fmla="*/ 197 h 337"/>
                <a:gd name="T32" fmla="*/ 150 w 204"/>
                <a:gd name="T33" fmla="*/ 151 h 337"/>
                <a:gd name="T34" fmla="*/ 106 w 204"/>
                <a:gd name="T35" fmla="*/ 133 h 337"/>
                <a:gd name="T36" fmla="*/ 55 w 204"/>
                <a:gd name="T37" fmla="*/ 157 h 337"/>
                <a:gd name="T38" fmla="*/ 37 w 204"/>
                <a:gd name="T39" fmla="*/ 223 h 337"/>
                <a:gd name="T40" fmla="*/ 54 w 204"/>
                <a:gd name="T41" fmla="*/ 284 h 337"/>
                <a:gd name="T42" fmla="*/ 102 w 204"/>
                <a:gd name="T43" fmla="*/ 306 h 337"/>
                <a:gd name="T44" fmla="*/ 150 w 204"/>
                <a:gd name="T45" fmla="*/ 285 h 337"/>
                <a:gd name="T46" fmla="*/ 168 w 204"/>
                <a:gd name="T47" fmla="*/ 23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337">
                  <a:moveTo>
                    <a:pt x="204" y="332"/>
                  </a:moveTo>
                  <a:cubicBezTo>
                    <a:pt x="168" y="332"/>
                    <a:pt x="168" y="332"/>
                    <a:pt x="168" y="332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51" y="323"/>
                    <a:pt x="126" y="337"/>
                    <a:pt x="92" y="337"/>
                  </a:cubicBezTo>
                  <a:cubicBezTo>
                    <a:pt x="64" y="337"/>
                    <a:pt x="42" y="327"/>
                    <a:pt x="25" y="307"/>
                  </a:cubicBezTo>
                  <a:cubicBezTo>
                    <a:pt x="9" y="286"/>
                    <a:pt x="0" y="259"/>
                    <a:pt x="0" y="225"/>
                  </a:cubicBezTo>
                  <a:cubicBezTo>
                    <a:pt x="0" y="188"/>
                    <a:pt x="10" y="158"/>
                    <a:pt x="28" y="136"/>
                  </a:cubicBezTo>
                  <a:cubicBezTo>
                    <a:pt x="46" y="113"/>
                    <a:pt x="71" y="102"/>
                    <a:pt x="101" y="102"/>
                  </a:cubicBezTo>
                  <a:cubicBezTo>
                    <a:pt x="132" y="102"/>
                    <a:pt x="154" y="114"/>
                    <a:pt x="168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332"/>
                  </a:lnTo>
                  <a:close/>
                  <a:moveTo>
                    <a:pt x="168" y="230"/>
                  </a:moveTo>
                  <a:cubicBezTo>
                    <a:pt x="168" y="197"/>
                    <a:pt x="168" y="197"/>
                    <a:pt x="168" y="197"/>
                  </a:cubicBezTo>
                  <a:cubicBezTo>
                    <a:pt x="168" y="179"/>
                    <a:pt x="162" y="163"/>
                    <a:pt x="150" y="151"/>
                  </a:cubicBezTo>
                  <a:cubicBezTo>
                    <a:pt x="138" y="139"/>
                    <a:pt x="123" y="133"/>
                    <a:pt x="106" y="133"/>
                  </a:cubicBezTo>
                  <a:cubicBezTo>
                    <a:pt x="85" y="133"/>
                    <a:pt x="68" y="141"/>
                    <a:pt x="55" y="157"/>
                  </a:cubicBezTo>
                  <a:cubicBezTo>
                    <a:pt x="43" y="173"/>
                    <a:pt x="37" y="195"/>
                    <a:pt x="37" y="223"/>
                  </a:cubicBezTo>
                  <a:cubicBezTo>
                    <a:pt x="37" y="249"/>
                    <a:pt x="43" y="269"/>
                    <a:pt x="54" y="284"/>
                  </a:cubicBezTo>
                  <a:cubicBezTo>
                    <a:pt x="66" y="299"/>
                    <a:pt x="82" y="306"/>
                    <a:pt x="102" y="306"/>
                  </a:cubicBezTo>
                  <a:cubicBezTo>
                    <a:pt x="121" y="306"/>
                    <a:pt x="137" y="299"/>
                    <a:pt x="150" y="285"/>
                  </a:cubicBezTo>
                  <a:cubicBezTo>
                    <a:pt x="162" y="271"/>
                    <a:pt x="168" y="252"/>
                    <a:pt x="168" y="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19"/>
            <p:cNvSpPr>
              <a:spLocks/>
            </p:cNvSpPr>
            <p:nvPr userDrawn="1"/>
          </p:nvSpPr>
          <p:spPr bwMode="auto">
            <a:xfrm>
              <a:off x="4123" y="645"/>
              <a:ext cx="728" cy="532"/>
            </a:xfrm>
            <a:custGeom>
              <a:avLst/>
              <a:gdLst>
                <a:gd name="T0" fmla="*/ 308 w 308"/>
                <a:gd name="T1" fmla="*/ 0 h 225"/>
                <a:gd name="T2" fmla="*/ 242 w 308"/>
                <a:gd name="T3" fmla="*/ 225 h 225"/>
                <a:gd name="T4" fmla="*/ 206 w 308"/>
                <a:gd name="T5" fmla="*/ 225 h 225"/>
                <a:gd name="T6" fmla="*/ 160 w 308"/>
                <a:gd name="T7" fmla="*/ 64 h 225"/>
                <a:gd name="T8" fmla="*/ 157 w 308"/>
                <a:gd name="T9" fmla="*/ 43 h 225"/>
                <a:gd name="T10" fmla="*/ 156 w 308"/>
                <a:gd name="T11" fmla="*/ 43 h 225"/>
                <a:gd name="T12" fmla="*/ 151 w 308"/>
                <a:gd name="T13" fmla="*/ 64 h 225"/>
                <a:gd name="T14" fmla="*/ 102 w 308"/>
                <a:gd name="T15" fmla="*/ 225 h 225"/>
                <a:gd name="T16" fmla="*/ 67 w 308"/>
                <a:gd name="T17" fmla="*/ 225 h 225"/>
                <a:gd name="T18" fmla="*/ 0 w 308"/>
                <a:gd name="T19" fmla="*/ 0 h 225"/>
                <a:gd name="T20" fmla="*/ 37 w 308"/>
                <a:gd name="T21" fmla="*/ 0 h 225"/>
                <a:gd name="T22" fmla="*/ 83 w 308"/>
                <a:gd name="T23" fmla="*/ 169 h 225"/>
                <a:gd name="T24" fmla="*/ 86 w 308"/>
                <a:gd name="T25" fmla="*/ 189 h 225"/>
                <a:gd name="T26" fmla="*/ 87 w 308"/>
                <a:gd name="T27" fmla="*/ 189 h 225"/>
                <a:gd name="T28" fmla="*/ 91 w 308"/>
                <a:gd name="T29" fmla="*/ 169 h 225"/>
                <a:gd name="T30" fmla="*/ 142 w 308"/>
                <a:gd name="T31" fmla="*/ 0 h 225"/>
                <a:gd name="T32" fmla="*/ 174 w 308"/>
                <a:gd name="T33" fmla="*/ 0 h 225"/>
                <a:gd name="T34" fmla="*/ 220 w 308"/>
                <a:gd name="T35" fmla="*/ 169 h 225"/>
                <a:gd name="T36" fmla="*/ 223 w 308"/>
                <a:gd name="T37" fmla="*/ 190 h 225"/>
                <a:gd name="T38" fmla="*/ 225 w 308"/>
                <a:gd name="T39" fmla="*/ 190 h 225"/>
                <a:gd name="T40" fmla="*/ 228 w 308"/>
                <a:gd name="T41" fmla="*/ 169 h 225"/>
                <a:gd name="T42" fmla="*/ 273 w 308"/>
                <a:gd name="T43" fmla="*/ 0 h 225"/>
                <a:gd name="T44" fmla="*/ 308 w 308"/>
                <a:gd name="T4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8" h="225">
                  <a:moveTo>
                    <a:pt x="308" y="0"/>
                  </a:moveTo>
                  <a:cubicBezTo>
                    <a:pt x="242" y="225"/>
                    <a:pt x="242" y="225"/>
                    <a:pt x="242" y="225"/>
                  </a:cubicBezTo>
                  <a:cubicBezTo>
                    <a:pt x="206" y="225"/>
                    <a:pt x="206" y="225"/>
                    <a:pt x="206" y="225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59"/>
                    <a:pt x="157" y="52"/>
                    <a:pt x="157" y="43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55" y="49"/>
                    <a:pt x="154" y="55"/>
                    <a:pt x="151" y="64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67" y="225"/>
                    <a:pt x="67" y="225"/>
                    <a:pt x="67" y="2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4" y="175"/>
                    <a:pt x="85" y="182"/>
                    <a:pt x="86" y="189"/>
                  </a:cubicBezTo>
                  <a:cubicBezTo>
                    <a:pt x="87" y="189"/>
                    <a:pt x="87" y="189"/>
                    <a:pt x="87" y="189"/>
                  </a:cubicBezTo>
                  <a:cubicBezTo>
                    <a:pt x="88" y="184"/>
                    <a:pt x="89" y="177"/>
                    <a:pt x="91" y="169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220" y="169"/>
                    <a:pt x="220" y="169"/>
                    <a:pt x="220" y="169"/>
                  </a:cubicBezTo>
                  <a:cubicBezTo>
                    <a:pt x="222" y="175"/>
                    <a:pt x="223" y="182"/>
                    <a:pt x="223" y="190"/>
                  </a:cubicBezTo>
                  <a:cubicBezTo>
                    <a:pt x="225" y="190"/>
                    <a:pt x="225" y="190"/>
                    <a:pt x="225" y="190"/>
                  </a:cubicBezTo>
                  <a:cubicBezTo>
                    <a:pt x="225" y="183"/>
                    <a:pt x="226" y="176"/>
                    <a:pt x="228" y="169"/>
                  </a:cubicBezTo>
                  <a:cubicBezTo>
                    <a:pt x="273" y="0"/>
                    <a:pt x="273" y="0"/>
                    <a:pt x="273" y="0"/>
                  </a:cubicBezTo>
                  <a:lnTo>
                    <a:pt x="3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0"/>
            <p:cNvSpPr>
              <a:spLocks noEditPoints="1"/>
            </p:cNvSpPr>
            <p:nvPr userDrawn="1"/>
          </p:nvSpPr>
          <p:spPr bwMode="auto">
            <a:xfrm>
              <a:off x="4939" y="401"/>
              <a:ext cx="109" cy="776"/>
            </a:xfrm>
            <a:custGeom>
              <a:avLst/>
              <a:gdLst>
                <a:gd name="T0" fmla="*/ 46 w 46"/>
                <a:gd name="T1" fmla="*/ 23 h 328"/>
                <a:gd name="T2" fmla="*/ 39 w 46"/>
                <a:gd name="T3" fmla="*/ 40 h 328"/>
                <a:gd name="T4" fmla="*/ 23 w 46"/>
                <a:gd name="T5" fmla="*/ 46 h 328"/>
                <a:gd name="T6" fmla="*/ 6 w 46"/>
                <a:gd name="T7" fmla="*/ 40 h 328"/>
                <a:gd name="T8" fmla="*/ 0 w 46"/>
                <a:gd name="T9" fmla="*/ 23 h 328"/>
                <a:gd name="T10" fmla="*/ 6 w 46"/>
                <a:gd name="T11" fmla="*/ 7 h 328"/>
                <a:gd name="T12" fmla="*/ 23 w 46"/>
                <a:gd name="T13" fmla="*/ 0 h 328"/>
                <a:gd name="T14" fmla="*/ 39 w 46"/>
                <a:gd name="T15" fmla="*/ 7 h 328"/>
                <a:gd name="T16" fmla="*/ 46 w 46"/>
                <a:gd name="T17" fmla="*/ 23 h 328"/>
                <a:gd name="T18" fmla="*/ 40 w 46"/>
                <a:gd name="T19" fmla="*/ 328 h 328"/>
                <a:gd name="T20" fmla="*/ 4 w 46"/>
                <a:gd name="T21" fmla="*/ 328 h 328"/>
                <a:gd name="T22" fmla="*/ 4 w 46"/>
                <a:gd name="T23" fmla="*/ 103 h 328"/>
                <a:gd name="T24" fmla="*/ 40 w 46"/>
                <a:gd name="T25" fmla="*/ 103 h 328"/>
                <a:gd name="T26" fmla="*/ 40 w 46"/>
                <a:gd name="T2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328">
                  <a:moveTo>
                    <a:pt x="46" y="23"/>
                  </a:moveTo>
                  <a:cubicBezTo>
                    <a:pt x="46" y="30"/>
                    <a:pt x="44" y="35"/>
                    <a:pt x="39" y="40"/>
                  </a:cubicBezTo>
                  <a:cubicBezTo>
                    <a:pt x="34" y="44"/>
                    <a:pt x="29" y="46"/>
                    <a:pt x="23" y="46"/>
                  </a:cubicBezTo>
                  <a:cubicBezTo>
                    <a:pt x="16" y="46"/>
                    <a:pt x="11" y="44"/>
                    <a:pt x="6" y="40"/>
                  </a:cubicBezTo>
                  <a:cubicBezTo>
                    <a:pt x="2" y="36"/>
                    <a:pt x="0" y="30"/>
                    <a:pt x="0" y="23"/>
                  </a:cubicBezTo>
                  <a:cubicBezTo>
                    <a:pt x="0" y="17"/>
                    <a:pt x="2" y="11"/>
                    <a:pt x="6" y="7"/>
                  </a:cubicBezTo>
                  <a:cubicBezTo>
                    <a:pt x="10" y="2"/>
                    <a:pt x="16" y="0"/>
                    <a:pt x="23" y="0"/>
                  </a:cubicBezTo>
                  <a:cubicBezTo>
                    <a:pt x="29" y="0"/>
                    <a:pt x="35" y="2"/>
                    <a:pt x="39" y="7"/>
                  </a:cubicBezTo>
                  <a:cubicBezTo>
                    <a:pt x="44" y="11"/>
                    <a:pt x="46" y="17"/>
                    <a:pt x="46" y="23"/>
                  </a:cubicBezTo>
                  <a:close/>
                  <a:moveTo>
                    <a:pt x="40" y="328"/>
                  </a:moveTo>
                  <a:cubicBezTo>
                    <a:pt x="4" y="328"/>
                    <a:pt x="4" y="328"/>
                    <a:pt x="4" y="328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0" y="103"/>
                    <a:pt x="40" y="103"/>
                    <a:pt x="40" y="103"/>
                  </a:cubicBezTo>
                  <a:lnTo>
                    <a:pt x="40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1"/>
            <p:cNvSpPr>
              <a:spLocks noEditPoints="1"/>
            </p:cNvSpPr>
            <p:nvPr userDrawn="1"/>
          </p:nvSpPr>
          <p:spPr bwMode="auto">
            <a:xfrm>
              <a:off x="5164" y="392"/>
              <a:ext cx="480" cy="797"/>
            </a:xfrm>
            <a:custGeom>
              <a:avLst/>
              <a:gdLst>
                <a:gd name="T0" fmla="*/ 203 w 203"/>
                <a:gd name="T1" fmla="*/ 332 h 337"/>
                <a:gd name="T2" fmla="*/ 168 w 203"/>
                <a:gd name="T3" fmla="*/ 332 h 337"/>
                <a:gd name="T4" fmla="*/ 168 w 203"/>
                <a:gd name="T5" fmla="*/ 294 h 337"/>
                <a:gd name="T6" fmla="*/ 167 w 203"/>
                <a:gd name="T7" fmla="*/ 294 h 337"/>
                <a:gd name="T8" fmla="*/ 91 w 203"/>
                <a:gd name="T9" fmla="*/ 337 h 337"/>
                <a:gd name="T10" fmla="*/ 24 w 203"/>
                <a:gd name="T11" fmla="*/ 307 h 337"/>
                <a:gd name="T12" fmla="*/ 0 w 203"/>
                <a:gd name="T13" fmla="*/ 225 h 337"/>
                <a:gd name="T14" fmla="*/ 27 w 203"/>
                <a:gd name="T15" fmla="*/ 136 h 337"/>
                <a:gd name="T16" fmla="*/ 101 w 203"/>
                <a:gd name="T17" fmla="*/ 102 h 337"/>
                <a:gd name="T18" fmla="*/ 167 w 203"/>
                <a:gd name="T19" fmla="*/ 138 h 337"/>
                <a:gd name="T20" fmla="*/ 168 w 203"/>
                <a:gd name="T21" fmla="*/ 138 h 337"/>
                <a:gd name="T22" fmla="*/ 168 w 203"/>
                <a:gd name="T23" fmla="*/ 0 h 337"/>
                <a:gd name="T24" fmla="*/ 203 w 203"/>
                <a:gd name="T25" fmla="*/ 0 h 337"/>
                <a:gd name="T26" fmla="*/ 203 w 203"/>
                <a:gd name="T27" fmla="*/ 332 h 337"/>
                <a:gd name="T28" fmla="*/ 168 w 203"/>
                <a:gd name="T29" fmla="*/ 230 h 337"/>
                <a:gd name="T30" fmla="*/ 168 w 203"/>
                <a:gd name="T31" fmla="*/ 197 h 337"/>
                <a:gd name="T32" fmla="*/ 149 w 203"/>
                <a:gd name="T33" fmla="*/ 151 h 337"/>
                <a:gd name="T34" fmla="*/ 105 w 203"/>
                <a:gd name="T35" fmla="*/ 133 h 337"/>
                <a:gd name="T36" fmla="*/ 54 w 203"/>
                <a:gd name="T37" fmla="*/ 157 h 337"/>
                <a:gd name="T38" fmla="*/ 36 w 203"/>
                <a:gd name="T39" fmla="*/ 223 h 337"/>
                <a:gd name="T40" fmla="*/ 53 w 203"/>
                <a:gd name="T41" fmla="*/ 284 h 337"/>
                <a:gd name="T42" fmla="*/ 101 w 203"/>
                <a:gd name="T43" fmla="*/ 306 h 337"/>
                <a:gd name="T44" fmla="*/ 149 w 203"/>
                <a:gd name="T45" fmla="*/ 285 h 337"/>
                <a:gd name="T46" fmla="*/ 168 w 203"/>
                <a:gd name="T47" fmla="*/ 23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3" h="337">
                  <a:moveTo>
                    <a:pt x="203" y="332"/>
                  </a:moveTo>
                  <a:cubicBezTo>
                    <a:pt x="168" y="332"/>
                    <a:pt x="168" y="332"/>
                    <a:pt x="168" y="332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67" y="294"/>
                    <a:pt x="167" y="294"/>
                    <a:pt x="167" y="294"/>
                  </a:cubicBezTo>
                  <a:cubicBezTo>
                    <a:pt x="150" y="323"/>
                    <a:pt x="125" y="337"/>
                    <a:pt x="91" y="337"/>
                  </a:cubicBezTo>
                  <a:cubicBezTo>
                    <a:pt x="63" y="337"/>
                    <a:pt x="41" y="327"/>
                    <a:pt x="24" y="307"/>
                  </a:cubicBezTo>
                  <a:cubicBezTo>
                    <a:pt x="8" y="286"/>
                    <a:pt x="0" y="259"/>
                    <a:pt x="0" y="225"/>
                  </a:cubicBezTo>
                  <a:cubicBezTo>
                    <a:pt x="0" y="188"/>
                    <a:pt x="9" y="158"/>
                    <a:pt x="27" y="136"/>
                  </a:cubicBezTo>
                  <a:cubicBezTo>
                    <a:pt x="45" y="113"/>
                    <a:pt x="70" y="102"/>
                    <a:pt x="101" y="102"/>
                  </a:cubicBezTo>
                  <a:cubicBezTo>
                    <a:pt x="131" y="102"/>
                    <a:pt x="153" y="114"/>
                    <a:pt x="167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32"/>
                  </a:lnTo>
                  <a:close/>
                  <a:moveTo>
                    <a:pt x="168" y="230"/>
                  </a:moveTo>
                  <a:cubicBezTo>
                    <a:pt x="168" y="197"/>
                    <a:pt x="168" y="197"/>
                    <a:pt x="168" y="197"/>
                  </a:cubicBezTo>
                  <a:cubicBezTo>
                    <a:pt x="168" y="179"/>
                    <a:pt x="162" y="163"/>
                    <a:pt x="149" y="151"/>
                  </a:cubicBezTo>
                  <a:cubicBezTo>
                    <a:pt x="137" y="139"/>
                    <a:pt x="122" y="133"/>
                    <a:pt x="105" y="133"/>
                  </a:cubicBezTo>
                  <a:cubicBezTo>
                    <a:pt x="84" y="133"/>
                    <a:pt x="67" y="141"/>
                    <a:pt x="54" y="157"/>
                  </a:cubicBezTo>
                  <a:cubicBezTo>
                    <a:pt x="42" y="173"/>
                    <a:pt x="36" y="195"/>
                    <a:pt x="36" y="223"/>
                  </a:cubicBezTo>
                  <a:cubicBezTo>
                    <a:pt x="36" y="249"/>
                    <a:pt x="42" y="269"/>
                    <a:pt x="53" y="284"/>
                  </a:cubicBezTo>
                  <a:cubicBezTo>
                    <a:pt x="65" y="299"/>
                    <a:pt x="81" y="306"/>
                    <a:pt x="101" y="306"/>
                  </a:cubicBezTo>
                  <a:cubicBezTo>
                    <a:pt x="120" y="306"/>
                    <a:pt x="136" y="299"/>
                    <a:pt x="149" y="285"/>
                  </a:cubicBezTo>
                  <a:cubicBezTo>
                    <a:pt x="161" y="271"/>
                    <a:pt x="168" y="252"/>
                    <a:pt x="168" y="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2"/>
            <p:cNvSpPr>
              <a:spLocks noEditPoints="1"/>
            </p:cNvSpPr>
            <p:nvPr userDrawn="1"/>
          </p:nvSpPr>
          <p:spPr bwMode="auto">
            <a:xfrm>
              <a:off x="5774" y="633"/>
              <a:ext cx="454" cy="556"/>
            </a:xfrm>
            <a:custGeom>
              <a:avLst/>
              <a:gdLst>
                <a:gd name="T0" fmla="*/ 192 w 192"/>
                <a:gd name="T1" fmla="*/ 126 h 235"/>
                <a:gd name="T2" fmla="*/ 36 w 192"/>
                <a:gd name="T3" fmla="*/ 126 h 235"/>
                <a:gd name="T4" fmla="*/ 56 w 192"/>
                <a:gd name="T5" fmla="*/ 184 h 235"/>
                <a:gd name="T6" fmla="*/ 108 w 192"/>
                <a:gd name="T7" fmla="*/ 204 h 235"/>
                <a:gd name="T8" fmla="*/ 177 w 192"/>
                <a:gd name="T9" fmla="*/ 180 h 235"/>
                <a:gd name="T10" fmla="*/ 177 w 192"/>
                <a:gd name="T11" fmla="*/ 213 h 235"/>
                <a:gd name="T12" fmla="*/ 100 w 192"/>
                <a:gd name="T13" fmla="*/ 235 h 235"/>
                <a:gd name="T14" fmla="*/ 26 w 192"/>
                <a:gd name="T15" fmla="*/ 204 h 235"/>
                <a:gd name="T16" fmla="*/ 0 w 192"/>
                <a:gd name="T17" fmla="*/ 118 h 235"/>
                <a:gd name="T18" fmla="*/ 13 w 192"/>
                <a:gd name="T19" fmla="*/ 58 h 235"/>
                <a:gd name="T20" fmla="*/ 49 w 192"/>
                <a:gd name="T21" fmla="*/ 15 h 235"/>
                <a:gd name="T22" fmla="*/ 101 w 192"/>
                <a:gd name="T23" fmla="*/ 0 h 235"/>
                <a:gd name="T24" fmla="*/ 168 w 192"/>
                <a:gd name="T25" fmla="*/ 28 h 235"/>
                <a:gd name="T26" fmla="*/ 192 w 192"/>
                <a:gd name="T27" fmla="*/ 108 h 235"/>
                <a:gd name="T28" fmla="*/ 192 w 192"/>
                <a:gd name="T29" fmla="*/ 126 h 235"/>
                <a:gd name="T30" fmla="*/ 156 w 192"/>
                <a:gd name="T31" fmla="*/ 96 h 235"/>
                <a:gd name="T32" fmla="*/ 141 w 192"/>
                <a:gd name="T33" fmla="*/ 48 h 235"/>
                <a:gd name="T34" fmla="*/ 101 w 192"/>
                <a:gd name="T35" fmla="*/ 31 h 235"/>
                <a:gd name="T36" fmla="*/ 59 w 192"/>
                <a:gd name="T37" fmla="*/ 48 h 235"/>
                <a:gd name="T38" fmla="*/ 37 w 192"/>
                <a:gd name="T39" fmla="*/ 96 h 235"/>
                <a:gd name="T40" fmla="*/ 156 w 192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35">
                  <a:moveTo>
                    <a:pt x="192" y="126"/>
                  </a:moveTo>
                  <a:cubicBezTo>
                    <a:pt x="36" y="126"/>
                    <a:pt x="36" y="126"/>
                    <a:pt x="36" y="126"/>
                  </a:cubicBezTo>
                  <a:cubicBezTo>
                    <a:pt x="37" y="152"/>
                    <a:pt x="43" y="171"/>
                    <a:pt x="56" y="184"/>
                  </a:cubicBezTo>
                  <a:cubicBezTo>
                    <a:pt x="69" y="198"/>
                    <a:pt x="86" y="204"/>
                    <a:pt x="108" y="204"/>
                  </a:cubicBezTo>
                  <a:cubicBezTo>
                    <a:pt x="133" y="204"/>
                    <a:pt x="156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7" y="228"/>
                    <a:pt x="132" y="235"/>
                    <a:pt x="100" y="235"/>
                  </a:cubicBezTo>
                  <a:cubicBezTo>
                    <a:pt x="68" y="235"/>
                    <a:pt x="44" y="225"/>
                    <a:pt x="26" y="204"/>
                  </a:cubicBezTo>
                  <a:cubicBezTo>
                    <a:pt x="8" y="183"/>
                    <a:pt x="0" y="155"/>
                    <a:pt x="0" y="118"/>
                  </a:cubicBezTo>
                  <a:cubicBezTo>
                    <a:pt x="0" y="96"/>
                    <a:pt x="4" y="76"/>
                    <a:pt x="13" y="58"/>
                  </a:cubicBezTo>
                  <a:cubicBezTo>
                    <a:pt x="22" y="39"/>
                    <a:pt x="34" y="25"/>
                    <a:pt x="49" y="15"/>
                  </a:cubicBezTo>
                  <a:cubicBezTo>
                    <a:pt x="65" y="5"/>
                    <a:pt x="82" y="0"/>
                    <a:pt x="101" y="0"/>
                  </a:cubicBezTo>
                  <a:cubicBezTo>
                    <a:pt x="130" y="0"/>
                    <a:pt x="152" y="9"/>
                    <a:pt x="168" y="28"/>
                  </a:cubicBezTo>
                  <a:cubicBezTo>
                    <a:pt x="184" y="47"/>
                    <a:pt x="192" y="74"/>
                    <a:pt x="192" y="108"/>
                  </a:cubicBezTo>
                  <a:lnTo>
                    <a:pt x="192" y="126"/>
                  </a:lnTo>
                  <a:close/>
                  <a:moveTo>
                    <a:pt x="156" y="96"/>
                  </a:moveTo>
                  <a:cubicBezTo>
                    <a:pt x="156" y="75"/>
                    <a:pt x="151" y="59"/>
                    <a:pt x="141" y="48"/>
                  </a:cubicBezTo>
                  <a:cubicBezTo>
                    <a:pt x="132" y="36"/>
                    <a:pt x="118" y="31"/>
                    <a:pt x="101" y="31"/>
                  </a:cubicBezTo>
                  <a:cubicBezTo>
                    <a:pt x="84" y="31"/>
                    <a:pt x="70" y="37"/>
                    <a:pt x="59" y="48"/>
                  </a:cubicBezTo>
                  <a:cubicBezTo>
                    <a:pt x="47" y="60"/>
                    <a:pt x="40" y="76"/>
                    <a:pt x="37" y="96"/>
                  </a:cubicBezTo>
                  <a:lnTo>
                    <a:pt x="15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3"/>
            <p:cNvSpPr>
              <a:spLocks noEditPoints="1"/>
            </p:cNvSpPr>
            <p:nvPr userDrawn="1"/>
          </p:nvSpPr>
          <p:spPr bwMode="auto">
            <a:xfrm>
              <a:off x="1426" y="1557"/>
              <a:ext cx="447" cy="743"/>
            </a:xfrm>
            <a:custGeom>
              <a:avLst/>
              <a:gdLst>
                <a:gd name="T0" fmla="*/ 189 w 189"/>
                <a:gd name="T1" fmla="*/ 93 h 314"/>
                <a:gd name="T2" fmla="*/ 158 w 189"/>
                <a:gd name="T3" fmla="*/ 167 h 314"/>
                <a:gd name="T4" fmla="*/ 77 w 189"/>
                <a:gd name="T5" fmla="*/ 195 h 314"/>
                <a:gd name="T6" fmla="*/ 36 w 189"/>
                <a:gd name="T7" fmla="*/ 195 h 314"/>
                <a:gd name="T8" fmla="*/ 36 w 189"/>
                <a:gd name="T9" fmla="*/ 314 h 314"/>
                <a:gd name="T10" fmla="*/ 0 w 189"/>
                <a:gd name="T11" fmla="*/ 314 h 314"/>
                <a:gd name="T12" fmla="*/ 0 w 189"/>
                <a:gd name="T13" fmla="*/ 0 h 314"/>
                <a:gd name="T14" fmla="*/ 85 w 189"/>
                <a:gd name="T15" fmla="*/ 0 h 314"/>
                <a:gd name="T16" fmla="*/ 161 w 189"/>
                <a:gd name="T17" fmla="*/ 24 h 314"/>
                <a:gd name="T18" fmla="*/ 189 w 189"/>
                <a:gd name="T19" fmla="*/ 93 h 314"/>
                <a:gd name="T20" fmla="*/ 151 w 189"/>
                <a:gd name="T21" fmla="*/ 95 h 314"/>
                <a:gd name="T22" fmla="*/ 78 w 189"/>
                <a:gd name="T23" fmla="*/ 33 h 314"/>
                <a:gd name="T24" fmla="*/ 36 w 189"/>
                <a:gd name="T25" fmla="*/ 33 h 314"/>
                <a:gd name="T26" fmla="*/ 36 w 189"/>
                <a:gd name="T27" fmla="*/ 162 h 314"/>
                <a:gd name="T28" fmla="*/ 74 w 189"/>
                <a:gd name="T29" fmla="*/ 162 h 314"/>
                <a:gd name="T30" fmla="*/ 131 w 189"/>
                <a:gd name="T31" fmla="*/ 144 h 314"/>
                <a:gd name="T32" fmla="*/ 151 w 189"/>
                <a:gd name="T33" fmla="*/ 9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9" h="314">
                  <a:moveTo>
                    <a:pt x="189" y="93"/>
                  </a:moveTo>
                  <a:cubicBezTo>
                    <a:pt x="189" y="124"/>
                    <a:pt x="178" y="148"/>
                    <a:pt x="158" y="167"/>
                  </a:cubicBezTo>
                  <a:cubicBezTo>
                    <a:pt x="137" y="185"/>
                    <a:pt x="110" y="195"/>
                    <a:pt x="77" y="195"/>
                  </a:cubicBezTo>
                  <a:cubicBezTo>
                    <a:pt x="36" y="195"/>
                    <a:pt x="36" y="195"/>
                    <a:pt x="36" y="195"/>
                  </a:cubicBezTo>
                  <a:cubicBezTo>
                    <a:pt x="36" y="314"/>
                    <a:pt x="36" y="314"/>
                    <a:pt x="36" y="314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118" y="0"/>
                    <a:pt x="143" y="8"/>
                    <a:pt x="161" y="24"/>
                  </a:cubicBezTo>
                  <a:cubicBezTo>
                    <a:pt x="180" y="41"/>
                    <a:pt x="189" y="64"/>
                    <a:pt x="189" y="93"/>
                  </a:cubicBezTo>
                  <a:close/>
                  <a:moveTo>
                    <a:pt x="151" y="95"/>
                  </a:moveTo>
                  <a:cubicBezTo>
                    <a:pt x="151" y="54"/>
                    <a:pt x="127" y="33"/>
                    <a:pt x="78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74" y="162"/>
                    <a:pt x="74" y="162"/>
                    <a:pt x="74" y="162"/>
                  </a:cubicBezTo>
                  <a:cubicBezTo>
                    <a:pt x="99" y="162"/>
                    <a:pt x="118" y="156"/>
                    <a:pt x="131" y="144"/>
                  </a:cubicBezTo>
                  <a:cubicBezTo>
                    <a:pt x="144" y="133"/>
                    <a:pt x="151" y="117"/>
                    <a:pt x="15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4"/>
            <p:cNvSpPr>
              <a:spLocks noEditPoints="1"/>
            </p:cNvSpPr>
            <p:nvPr userDrawn="1"/>
          </p:nvSpPr>
          <p:spPr bwMode="auto">
            <a:xfrm>
              <a:off x="1923" y="1756"/>
              <a:ext cx="411" cy="556"/>
            </a:xfrm>
            <a:custGeom>
              <a:avLst/>
              <a:gdLst>
                <a:gd name="T0" fmla="*/ 174 w 174"/>
                <a:gd name="T1" fmla="*/ 230 h 235"/>
                <a:gd name="T2" fmla="*/ 139 w 174"/>
                <a:gd name="T3" fmla="*/ 230 h 235"/>
                <a:gd name="T4" fmla="*/ 139 w 174"/>
                <a:gd name="T5" fmla="*/ 195 h 235"/>
                <a:gd name="T6" fmla="*/ 138 w 174"/>
                <a:gd name="T7" fmla="*/ 195 h 235"/>
                <a:gd name="T8" fmla="*/ 70 w 174"/>
                <a:gd name="T9" fmla="*/ 235 h 235"/>
                <a:gd name="T10" fmla="*/ 19 w 174"/>
                <a:gd name="T11" fmla="*/ 218 h 235"/>
                <a:gd name="T12" fmla="*/ 0 w 174"/>
                <a:gd name="T13" fmla="*/ 170 h 235"/>
                <a:gd name="T14" fmla="*/ 73 w 174"/>
                <a:gd name="T15" fmla="*/ 97 h 235"/>
                <a:gd name="T16" fmla="*/ 139 w 174"/>
                <a:gd name="T17" fmla="*/ 87 h 235"/>
                <a:gd name="T18" fmla="*/ 93 w 174"/>
                <a:gd name="T19" fmla="*/ 31 h 235"/>
                <a:gd name="T20" fmla="*/ 21 w 174"/>
                <a:gd name="T21" fmla="*/ 58 h 235"/>
                <a:gd name="T22" fmla="*/ 21 w 174"/>
                <a:gd name="T23" fmla="*/ 21 h 235"/>
                <a:gd name="T24" fmla="*/ 55 w 174"/>
                <a:gd name="T25" fmla="*/ 7 h 235"/>
                <a:gd name="T26" fmla="*/ 96 w 174"/>
                <a:gd name="T27" fmla="*/ 0 h 235"/>
                <a:gd name="T28" fmla="*/ 174 w 174"/>
                <a:gd name="T29" fmla="*/ 84 h 235"/>
                <a:gd name="T30" fmla="*/ 174 w 174"/>
                <a:gd name="T31" fmla="*/ 230 h 235"/>
                <a:gd name="T32" fmla="*/ 139 w 174"/>
                <a:gd name="T33" fmla="*/ 116 h 235"/>
                <a:gd name="T34" fmla="*/ 85 w 174"/>
                <a:gd name="T35" fmla="*/ 124 h 235"/>
                <a:gd name="T36" fmla="*/ 47 w 174"/>
                <a:gd name="T37" fmla="*/ 137 h 235"/>
                <a:gd name="T38" fmla="*/ 36 w 174"/>
                <a:gd name="T39" fmla="*/ 167 h 235"/>
                <a:gd name="T40" fmla="*/ 48 w 174"/>
                <a:gd name="T41" fmla="*/ 194 h 235"/>
                <a:gd name="T42" fmla="*/ 78 w 174"/>
                <a:gd name="T43" fmla="*/ 204 h 235"/>
                <a:gd name="T44" fmla="*/ 122 w 174"/>
                <a:gd name="T45" fmla="*/ 186 h 235"/>
                <a:gd name="T46" fmla="*/ 139 w 174"/>
                <a:gd name="T47" fmla="*/ 139 h 235"/>
                <a:gd name="T48" fmla="*/ 139 w 174"/>
                <a:gd name="T49" fmla="*/ 11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4" h="235">
                  <a:moveTo>
                    <a:pt x="174" y="230"/>
                  </a:moveTo>
                  <a:cubicBezTo>
                    <a:pt x="139" y="230"/>
                    <a:pt x="139" y="230"/>
                    <a:pt x="139" y="230"/>
                  </a:cubicBezTo>
                  <a:cubicBezTo>
                    <a:pt x="139" y="195"/>
                    <a:pt x="139" y="195"/>
                    <a:pt x="139" y="195"/>
                  </a:cubicBezTo>
                  <a:cubicBezTo>
                    <a:pt x="138" y="195"/>
                    <a:pt x="138" y="195"/>
                    <a:pt x="138" y="195"/>
                  </a:cubicBezTo>
                  <a:cubicBezTo>
                    <a:pt x="123" y="222"/>
                    <a:pt x="100" y="235"/>
                    <a:pt x="70" y="235"/>
                  </a:cubicBezTo>
                  <a:cubicBezTo>
                    <a:pt x="49" y="235"/>
                    <a:pt x="32" y="229"/>
                    <a:pt x="19" y="218"/>
                  </a:cubicBezTo>
                  <a:cubicBezTo>
                    <a:pt x="6" y="206"/>
                    <a:pt x="0" y="190"/>
                    <a:pt x="0" y="170"/>
                  </a:cubicBezTo>
                  <a:cubicBezTo>
                    <a:pt x="0" y="128"/>
                    <a:pt x="24" y="104"/>
                    <a:pt x="73" y="97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39" y="50"/>
                    <a:pt x="124" y="31"/>
                    <a:pt x="93" y="31"/>
                  </a:cubicBezTo>
                  <a:cubicBezTo>
                    <a:pt x="67" y="31"/>
                    <a:pt x="43" y="40"/>
                    <a:pt x="21" y="58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8" y="16"/>
                    <a:pt x="39" y="11"/>
                    <a:pt x="55" y="7"/>
                  </a:cubicBezTo>
                  <a:cubicBezTo>
                    <a:pt x="70" y="2"/>
                    <a:pt x="84" y="0"/>
                    <a:pt x="96" y="0"/>
                  </a:cubicBezTo>
                  <a:cubicBezTo>
                    <a:pt x="148" y="0"/>
                    <a:pt x="174" y="28"/>
                    <a:pt x="174" y="84"/>
                  </a:cubicBezTo>
                  <a:lnTo>
                    <a:pt x="174" y="230"/>
                  </a:lnTo>
                  <a:close/>
                  <a:moveTo>
                    <a:pt x="139" y="116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67" y="126"/>
                    <a:pt x="54" y="131"/>
                    <a:pt x="47" y="137"/>
                  </a:cubicBezTo>
                  <a:cubicBezTo>
                    <a:pt x="40" y="143"/>
                    <a:pt x="36" y="153"/>
                    <a:pt x="36" y="167"/>
                  </a:cubicBezTo>
                  <a:cubicBezTo>
                    <a:pt x="36" y="178"/>
                    <a:pt x="40" y="187"/>
                    <a:pt x="48" y="194"/>
                  </a:cubicBezTo>
                  <a:cubicBezTo>
                    <a:pt x="56" y="201"/>
                    <a:pt x="66" y="204"/>
                    <a:pt x="78" y="204"/>
                  </a:cubicBezTo>
                  <a:cubicBezTo>
                    <a:pt x="96" y="204"/>
                    <a:pt x="110" y="198"/>
                    <a:pt x="122" y="186"/>
                  </a:cubicBezTo>
                  <a:cubicBezTo>
                    <a:pt x="133" y="173"/>
                    <a:pt x="139" y="157"/>
                    <a:pt x="139" y="139"/>
                  </a:cubicBezTo>
                  <a:lnTo>
                    <a:pt x="139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3" name="Freeform 25"/>
            <p:cNvSpPr>
              <a:spLocks/>
            </p:cNvSpPr>
            <p:nvPr userDrawn="1"/>
          </p:nvSpPr>
          <p:spPr bwMode="auto">
            <a:xfrm>
              <a:off x="2493" y="175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99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9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4" name="Freeform 26"/>
            <p:cNvSpPr>
              <a:spLocks/>
            </p:cNvSpPr>
            <p:nvPr userDrawn="1"/>
          </p:nvSpPr>
          <p:spPr bwMode="auto">
            <a:xfrm>
              <a:off x="2824" y="1612"/>
              <a:ext cx="303" cy="700"/>
            </a:xfrm>
            <a:custGeom>
              <a:avLst/>
              <a:gdLst>
                <a:gd name="T0" fmla="*/ 128 w 128"/>
                <a:gd name="T1" fmla="*/ 288 h 296"/>
                <a:gd name="T2" fmla="*/ 95 w 128"/>
                <a:gd name="T3" fmla="*/ 296 h 296"/>
                <a:gd name="T4" fmla="*/ 37 w 128"/>
                <a:gd name="T5" fmla="*/ 230 h 296"/>
                <a:gd name="T6" fmla="*/ 37 w 128"/>
                <a:gd name="T7" fmla="*/ 97 h 296"/>
                <a:gd name="T8" fmla="*/ 0 w 128"/>
                <a:gd name="T9" fmla="*/ 97 h 296"/>
                <a:gd name="T10" fmla="*/ 0 w 128"/>
                <a:gd name="T11" fmla="*/ 66 h 296"/>
                <a:gd name="T12" fmla="*/ 37 w 128"/>
                <a:gd name="T13" fmla="*/ 66 h 296"/>
                <a:gd name="T14" fmla="*/ 37 w 128"/>
                <a:gd name="T15" fmla="*/ 12 h 296"/>
                <a:gd name="T16" fmla="*/ 73 w 128"/>
                <a:gd name="T17" fmla="*/ 0 h 296"/>
                <a:gd name="T18" fmla="*/ 73 w 128"/>
                <a:gd name="T19" fmla="*/ 66 h 296"/>
                <a:gd name="T20" fmla="*/ 128 w 128"/>
                <a:gd name="T21" fmla="*/ 66 h 296"/>
                <a:gd name="T22" fmla="*/ 128 w 128"/>
                <a:gd name="T23" fmla="*/ 97 h 296"/>
                <a:gd name="T24" fmla="*/ 73 w 128"/>
                <a:gd name="T25" fmla="*/ 97 h 296"/>
                <a:gd name="T26" fmla="*/ 73 w 128"/>
                <a:gd name="T27" fmla="*/ 223 h 296"/>
                <a:gd name="T28" fmla="*/ 80 w 128"/>
                <a:gd name="T29" fmla="*/ 256 h 296"/>
                <a:gd name="T30" fmla="*/ 106 w 128"/>
                <a:gd name="T31" fmla="*/ 265 h 296"/>
                <a:gd name="T32" fmla="*/ 128 w 128"/>
                <a:gd name="T33" fmla="*/ 258 h 296"/>
                <a:gd name="T34" fmla="*/ 128 w 128"/>
                <a:gd name="T35" fmla="*/ 2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96">
                  <a:moveTo>
                    <a:pt x="128" y="288"/>
                  </a:moveTo>
                  <a:cubicBezTo>
                    <a:pt x="120" y="293"/>
                    <a:pt x="109" y="296"/>
                    <a:pt x="95" y="296"/>
                  </a:cubicBezTo>
                  <a:cubicBezTo>
                    <a:pt x="57" y="296"/>
                    <a:pt x="37" y="274"/>
                    <a:pt x="37" y="230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238"/>
                    <a:pt x="75" y="249"/>
                    <a:pt x="80" y="256"/>
                  </a:cubicBezTo>
                  <a:cubicBezTo>
                    <a:pt x="85" y="262"/>
                    <a:pt x="94" y="265"/>
                    <a:pt x="106" y="265"/>
                  </a:cubicBezTo>
                  <a:cubicBezTo>
                    <a:pt x="114" y="265"/>
                    <a:pt x="122" y="263"/>
                    <a:pt x="128" y="258"/>
                  </a:cubicBezTo>
                  <a:lnTo>
                    <a:pt x="128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auto">
            <a:xfrm>
              <a:off x="3240" y="1756"/>
              <a:ext cx="433" cy="544"/>
            </a:xfrm>
            <a:custGeom>
              <a:avLst/>
              <a:gdLst>
                <a:gd name="T0" fmla="*/ 183 w 183"/>
                <a:gd name="T1" fmla="*/ 230 h 230"/>
                <a:gd name="T2" fmla="*/ 147 w 183"/>
                <a:gd name="T3" fmla="*/ 230 h 230"/>
                <a:gd name="T4" fmla="*/ 147 w 183"/>
                <a:gd name="T5" fmla="*/ 102 h 230"/>
                <a:gd name="T6" fmla="*/ 96 w 183"/>
                <a:gd name="T7" fmla="*/ 31 h 230"/>
                <a:gd name="T8" fmla="*/ 52 w 183"/>
                <a:gd name="T9" fmla="*/ 51 h 230"/>
                <a:gd name="T10" fmla="*/ 35 w 183"/>
                <a:gd name="T11" fmla="*/ 102 h 230"/>
                <a:gd name="T12" fmla="*/ 35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5 w 183"/>
                <a:gd name="T19" fmla="*/ 5 h 230"/>
                <a:gd name="T20" fmla="*/ 35 w 183"/>
                <a:gd name="T21" fmla="*/ 43 h 230"/>
                <a:gd name="T22" fmla="*/ 36 w 183"/>
                <a:gd name="T23" fmla="*/ 43 h 230"/>
                <a:gd name="T24" fmla="*/ 108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7" y="230"/>
                    <a:pt x="147" y="230"/>
                    <a:pt x="147" y="230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54"/>
                    <a:pt x="130" y="31"/>
                    <a:pt x="96" y="31"/>
                  </a:cubicBezTo>
                  <a:cubicBezTo>
                    <a:pt x="79" y="31"/>
                    <a:pt x="64" y="37"/>
                    <a:pt x="52" y="51"/>
                  </a:cubicBezTo>
                  <a:cubicBezTo>
                    <a:pt x="41" y="64"/>
                    <a:pt x="35" y="81"/>
                    <a:pt x="35" y="102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52" y="14"/>
                    <a:pt x="76" y="0"/>
                    <a:pt x="108" y="0"/>
                  </a:cubicBezTo>
                  <a:cubicBezTo>
                    <a:pt x="132" y="0"/>
                    <a:pt x="151" y="8"/>
                    <a:pt x="164" y="24"/>
                  </a:cubicBezTo>
                  <a:cubicBezTo>
                    <a:pt x="176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6" name="Freeform 28"/>
            <p:cNvSpPr>
              <a:spLocks noEditPoints="1"/>
            </p:cNvSpPr>
            <p:nvPr userDrawn="1"/>
          </p:nvSpPr>
          <p:spPr bwMode="auto">
            <a:xfrm>
              <a:off x="3789" y="1756"/>
              <a:ext cx="457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2 w 193"/>
                <a:gd name="T35" fmla="*/ 31 h 235"/>
                <a:gd name="T36" fmla="*/ 60 w 193"/>
                <a:gd name="T37" fmla="*/ 49 h 235"/>
                <a:gd name="T38" fmla="*/ 38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3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3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1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2" y="59"/>
                    <a:pt x="142" y="48"/>
                  </a:cubicBezTo>
                  <a:cubicBezTo>
                    <a:pt x="132" y="36"/>
                    <a:pt x="119" y="31"/>
                    <a:pt x="102" y="31"/>
                  </a:cubicBezTo>
                  <a:cubicBezTo>
                    <a:pt x="85" y="31"/>
                    <a:pt x="71" y="37"/>
                    <a:pt x="60" y="49"/>
                  </a:cubicBezTo>
                  <a:cubicBezTo>
                    <a:pt x="48" y="60"/>
                    <a:pt x="41" y="76"/>
                    <a:pt x="38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auto">
            <a:xfrm>
              <a:off x="4369" y="175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8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99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8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auto">
            <a:xfrm>
              <a:off x="1379" y="2666"/>
              <a:ext cx="544" cy="769"/>
            </a:xfrm>
            <a:custGeom>
              <a:avLst/>
              <a:gdLst>
                <a:gd name="T0" fmla="*/ 230 w 230"/>
                <a:gd name="T1" fmla="*/ 307 h 325"/>
                <a:gd name="T2" fmla="*/ 145 w 230"/>
                <a:gd name="T3" fmla="*/ 325 h 325"/>
                <a:gd name="T4" fmla="*/ 69 w 230"/>
                <a:gd name="T5" fmla="*/ 306 h 325"/>
                <a:gd name="T6" fmla="*/ 17 w 230"/>
                <a:gd name="T7" fmla="*/ 250 h 325"/>
                <a:gd name="T8" fmla="*/ 0 w 230"/>
                <a:gd name="T9" fmla="*/ 169 h 325"/>
                <a:gd name="T10" fmla="*/ 20 w 230"/>
                <a:gd name="T11" fmla="*/ 82 h 325"/>
                <a:gd name="T12" fmla="*/ 76 w 230"/>
                <a:gd name="T13" fmla="*/ 22 h 325"/>
                <a:gd name="T14" fmla="*/ 157 w 230"/>
                <a:gd name="T15" fmla="*/ 0 h 325"/>
                <a:gd name="T16" fmla="*/ 230 w 230"/>
                <a:gd name="T17" fmla="*/ 13 h 325"/>
                <a:gd name="T18" fmla="*/ 230 w 230"/>
                <a:gd name="T19" fmla="*/ 52 h 325"/>
                <a:gd name="T20" fmla="*/ 157 w 230"/>
                <a:gd name="T21" fmla="*/ 33 h 325"/>
                <a:gd name="T22" fmla="*/ 95 w 230"/>
                <a:gd name="T23" fmla="*/ 50 h 325"/>
                <a:gd name="T24" fmla="*/ 52 w 230"/>
                <a:gd name="T25" fmla="*/ 97 h 325"/>
                <a:gd name="T26" fmla="*/ 37 w 230"/>
                <a:gd name="T27" fmla="*/ 166 h 325"/>
                <a:gd name="T28" fmla="*/ 51 w 230"/>
                <a:gd name="T29" fmla="*/ 232 h 325"/>
                <a:gd name="T30" fmla="*/ 91 w 230"/>
                <a:gd name="T31" fmla="*/ 276 h 325"/>
                <a:gd name="T32" fmla="*/ 150 w 230"/>
                <a:gd name="T33" fmla="*/ 292 h 325"/>
                <a:gd name="T34" fmla="*/ 230 w 230"/>
                <a:gd name="T35" fmla="*/ 271 h 325"/>
                <a:gd name="T36" fmla="*/ 230 w 230"/>
                <a:gd name="T37" fmla="*/ 307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0" h="325">
                  <a:moveTo>
                    <a:pt x="230" y="307"/>
                  </a:moveTo>
                  <a:cubicBezTo>
                    <a:pt x="207" y="319"/>
                    <a:pt x="179" y="325"/>
                    <a:pt x="145" y="325"/>
                  </a:cubicBezTo>
                  <a:cubicBezTo>
                    <a:pt x="116" y="325"/>
                    <a:pt x="91" y="319"/>
                    <a:pt x="69" y="306"/>
                  </a:cubicBezTo>
                  <a:cubicBezTo>
                    <a:pt x="47" y="293"/>
                    <a:pt x="29" y="274"/>
                    <a:pt x="17" y="250"/>
                  </a:cubicBezTo>
                  <a:cubicBezTo>
                    <a:pt x="6" y="226"/>
                    <a:pt x="0" y="199"/>
                    <a:pt x="0" y="169"/>
                  </a:cubicBezTo>
                  <a:cubicBezTo>
                    <a:pt x="0" y="137"/>
                    <a:pt x="6" y="108"/>
                    <a:pt x="20" y="82"/>
                  </a:cubicBezTo>
                  <a:cubicBezTo>
                    <a:pt x="33" y="56"/>
                    <a:pt x="52" y="36"/>
                    <a:pt x="76" y="22"/>
                  </a:cubicBezTo>
                  <a:cubicBezTo>
                    <a:pt x="100" y="7"/>
                    <a:pt x="127" y="0"/>
                    <a:pt x="157" y="0"/>
                  </a:cubicBezTo>
                  <a:cubicBezTo>
                    <a:pt x="186" y="0"/>
                    <a:pt x="210" y="5"/>
                    <a:pt x="230" y="13"/>
                  </a:cubicBezTo>
                  <a:cubicBezTo>
                    <a:pt x="230" y="52"/>
                    <a:pt x="230" y="52"/>
                    <a:pt x="230" y="52"/>
                  </a:cubicBezTo>
                  <a:cubicBezTo>
                    <a:pt x="208" y="40"/>
                    <a:pt x="183" y="33"/>
                    <a:pt x="157" y="33"/>
                  </a:cubicBezTo>
                  <a:cubicBezTo>
                    <a:pt x="133" y="33"/>
                    <a:pt x="113" y="39"/>
                    <a:pt x="95" y="50"/>
                  </a:cubicBezTo>
                  <a:cubicBezTo>
                    <a:pt x="76" y="61"/>
                    <a:pt x="62" y="76"/>
                    <a:pt x="52" y="97"/>
                  </a:cubicBezTo>
                  <a:cubicBezTo>
                    <a:pt x="42" y="117"/>
                    <a:pt x="37" y="140"/>
                    <a:pt x="37" y="166"/>
                  </a:cubicBezTo>
                  <a:cubicBezTo>
                    <a:pt x="37" y="191"/>
                    <a:pt x="42" y="213"/>
                    <a:pt x="51" y="232"/>
                  </a:cubicBezTo>
                  <a:cubicBezTo>
                    <a:pt x="61" y="251"/>
                    <a:pt x="74" y="266"/>
                    <a:pt x="91" y="276"/>
                  </a:cubicBezTo>
                  <a:cubicBezTo>
                    <a:pt x="108" y="287"/>
                    <a:pt x="128" y="292"/>
                    <a:pt x="150" y="292"/>
                  </a:cubicBezTo>
                  <a:cubicBezTo>
                    <a:pt x="181" y="292"/>
                    <a:pt x="207" y="285"/>
                    <a:pt x="230" y="271"/>
                  </a:cubicBezTo>
                  <a:lnTo>
                    <a:pt x="230" y="3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1"/>
            <p:cNvSpPr>
              <a:spLocks noEditPoints="1"/>
            </p:cNvSpPr>
            <p:nvPr userDrawn="1"/>
          </p:nvSpPr>
          <p:spPr bwMode="auto">
            <a:xfrm>
              <a:off x="2020" y="2879"/>
              <a:ext cx="516" cy="556"/>
            </a:xfrm>
            <a:custGeom>
              <a:avLst/>
              <a:gdLst>
                <a:gd name="T0" fmla="*/ 218 w 218"/>
                <a:gd name="T1" fmla="*/ 117 h 235"/>
                <a:gd name="T2" fmla="*/ 188 w 218"/>
                <a:gd name="T3" fmla="*/ 203 h 235"/>
                <a:gd name="T4" fmla="*/ 108 w 218"/>
                <a:gd name="T5" fmla="*/ 235 h 235"/>
                <a:gd name="T6" fmla="*/ 30 w 218"/>
                <a:gd name="T7" fmla="*/ 203 h 235"/>
                <a:gd name="T8" fmla="*/ 0 w 218"/>
                <a:gd name="T9" fmla="*/ 120 h 235"/>
                <a:gd name="T10" fmla="*/ 30 w 218"/>
                <a:gd name="T11" fmla="*/ 32 h 235"/>
                <a:gd name="T12" fmla="*/ 113 w 218"/>
                <a:gd name="T13" fmla="*/ 0 h 235"/>
                <a:gd name="T14" fmla="*/ 190 w 218"/>
                <a:gd name="T15" fmla="*/ 31 h 235"/>
                <a:gd name="T16" fmla="*/ 218 w 218"/>
                <a:gd name="T17" fmla="*/ 117 h 235"/>
                <a:gd name="T18" fmla="*/ 181 w 218"/>
                <a:gd name="T19" fmla="*/ 118 h 235"/>
                <a:gd name="T20" fmla="*/ 163 w 218"/>
                <a:gd name="T21" fmla="*/ 53 h 235"/>
                <a:gd name="T22" fmla="*/ 110 w 218"/>
                <a:gd name="T23" fmla="*/ 31 h 235"/>
                <a:gd name="T24" fmla="*/ 56 w 218"/>
                <a:gd name="T25" fmla="*/ 54 h 235"/>
                <a:gd name="T26" fmla="*/ 37 w 218"/>
                <a:gd name="T27" fmla="*/ 119 h 235"/>
                <a:gd name="T28" fmla="*/ 57 w 218"/>
                <a:gd name="T29" fmla="*/ 182 h 235"/>
                <a:gd name="T30" fmla="*/ 110 w 218"/>
                <a:gd name="T31" fmla="*/ 204 h 235"/>
                <a:gd name="T32" fmla="*/ 163 w 218"/>
                <a:gd name="T33" fmla="*/ 182 h 235"/>
                <a:gd name="T34" fmla="*/ 181 w 218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8" h="235">
                  <a:moveTo>
                    <a:pt x="218" y="117"/>
                  </a:moveTo>
                  <a:cubicBezTo>
                    <a:pt x="218" y="152"/>
                    <a:pt x="208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30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6" y="0"/>
                    <a:pt x="171" y="10"/>
                    <a:pt x="190" y="31"/>
                  </a:cubicBezTo>
                  <a:cubicBezTo>
                    <a:pt x="208" y="52"/>
                    <a:pt x="218" y="80"/>
                    <a:pt x="218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8" y="31"/>
                    <a:pt x="70" y="38"/>
                    <a:pt x="56" y="54"/>
                  </a:cubicBezTo>
                  <a:cubicBezTo>
                    <a:pt x="43" y="69"/>
                    <a:pt x="37" y="91"/>
                    <a:pt x="37" y="119"/>
                  </a:cubicBezTo>
                  <a:cubicBezTo>
                    <a:pt x="37" y="146"/>
                    <a:pt x="43" y="167"/>
                    <a:pt x="57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2"/>
            <p:cNvSpPr>
              <a:spLocks/>
            </p:cNvSpPr>
            <p:nvPr userDrawn="1"/>
          </p:nvSpPr>
          <p:spPr bwMode="auto">
            <a:xfrm>
              <a:off x="2663" y="2879"/>
              <a:ext cx="433" cy="544"/>
            </a:xfrm>
            <a:custGeom>
              <a:avLst/>
              <a:gdLst>
                <a:gd name="T0" fmla="*/ 183 w 183"/>
                <a:gd name="T1" fmla="*/ 230 h 230"/>
                <a:gd name="T2" fmla="*/ 148 w 183"/>
                <a:gd name="T3" fmla="*/ 230 h 230"/>
                <a:gd name="T4" fmla="*/ 148 w 183"/>
                <a:gd name="T5" fmla="*/ 102 h 230"/>
                <a:gd name="T6" fmla="*/ 97 w 183"/>
                <a:gd name="T7" fmla="*/ 31 h 230"/>
                <a:gd name="T8" fmla="*/ 53 w 183"/>
                <a:gd name="T9" fmla="*/ 51 h 230"/>
                <a:gd name="T10" fmla="*/ 36 w 183"/>
                <a:gd name="T11" fmla="*/ 102 h 230"/>
                <a:gd name="T12" fmla="*/ 36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6 w 183"/>
                <a:gd name="T19" fmla="*/ 5 h 230"/>
                <a:gd name="T20" fmla="*/ 36 w 183"/>
                <a:gd name="T21" fmla="*/ 43 h 230"/>
                <a:gd name="T22" fmla="*/ 37 w 183"/>
                <a:gd name="T23" fmla="*/ 43 h 230"/>
                <a:gd name="T24" fmla="*/ 109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8" y="230"/>
                    <a:pt x="148" y="230"/>
                    <a:pt x="148" y="230"/>
                  </a:cubicBezTo>
                  <a:cubicBezTo>
                    <a:pt x="148" y="102"/>
                    <a:pt x="148" y="102"/>
                    <a:pt x="148" y="102"/>
                  </a:cubicBezTo>
                  <a:cubicBezTo>
                    <a:pt x="148" y="54"/>
                    <a:pt x="131" y="31"/>
                    <a:pt x="97" y="31"/>
                  </a:cubicBezTo>
                  <a:cubicBezTo>
                    <a:pt x="79" y="31"/>
                    <a:pt x="65" y="37"/>
                    <a:pt x="53" y="51"/>
                  </a:cubicBezTo>
                  <a:cubicBezTo>
                    <a:pt x="42" y="64"/>
                    <a:pt x="36" y="81"/>
                    <a:pt x="36" y="102"/>
                  </a:cubicBezTo>
                  <a:cubicBezTo>
                    <a:pt x="36" y="230"/>
                    <a:pt x="36" y="230"/>
                    <a:pt x="36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53" y="14"/>
                    <a:pt x="77" y="0"/>
                    <a:pt x="109" y="0"/>
                  </a:cubicBezTo>
                  <a:cubicBezTo>
                    <a:pt x="133" y="0"/>
                    <a:pt x="152" y="8"/>
                    <a:pt x="164" y="24"/>
                  </a:cubicBezTo>
                  <a:cubicBezTo>
                    <a:pt x="177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3"/>
            <p:cNvSpPr>
              <a:spLocks/>
            </p:cNvSpPr>
            <p:nvPr userDrawn="1"/>
          </p:nvSpPr>
          <p:spPr bwMode="auto">
            <a:xfrm>
              <a:off x="3198" y="2626"/>
              <a:ext cx="315" cy="797"/>
            </a:xfrm>
            <a:custGeom>
              <a:avLst/>
              <a:gdLst>
                <a:gd name="T0" fmla="*/ 133 w 133"/>
                <a:gd name="T1" fmla="*/ 36 h 337"/>
                <a:gd name="T2" fmla="*/ 110 w 133"/>
                <a:gd name="T3" fmla="*/ 30 h 337"/>
                <a:gd name="T4" fmla="*/ 73 w 133"/>
                <a:gd name="T5" fmla="*/ 78 h 337"/>
                <a:gd name="T6" fmla="*/ 73 w 133"/>
                <a:gd name="T7" fmla="*/ 112 h 337"/>
                <a:gd name="T8" fmla="*/ 124 w 133"/>
                <a:gd name="T9" fmla="*/ 112 h 337"/>
                <a:gd name="T10" fmla="*/ 124 w 133"/>
                <a:gd name="T11" fmla="*/ 143 h 337"/>
                <a:gd name="T12" fmla="*/ 73 w 133"/>
                <a:gd name="T13" fmla="*/ 143 h 337"/>
                <a:gd name="T14" fmla="*/ 73 w 133"/>
                <a:gd name="T15" fmla="*/ 337 h 337"/>
                <a:gd name="T16" fmla="*/ 37 w 133"/>
                <a:gd name="T17" fmla="*/ 337 h 337"/>
                <a:gd name="T18" fmla="*/ 37 w 133"/>
                <a:gd name="T19" fmla="*/ 143 h 337"/>
                <a:gd name="T20" fmla="*/ 0 w 133"/>
                <a:gd name="T21" fmla="*/ 143 h 337"/>
                <a:gd name="T22" fmla="*/ 0 w 133"/>
                <a:gd name="T23" fmla="*/ 112 h 337"/>
                <a:gd name="T24" fmla="*/ 37 w 133"/>
                <a:gd name="T25" fmla="*/ 112 h 337"/>
                <a:gd name="T26" fmla="*/ 37 w 133"/>
                <a:gd name="T27" fmla="*/ 76 h 337"/>
                <a:gd name="T28" fmla="*/ 57 w 133"/>
                <a:gd name="T29" fmla="*/ 21 h 337"/>
                <a:gd name="T30" fmla="*/ 107 w 133"/>
                <a:gd name="T31" fmla="*/ 0 h 337"/>
                <a:gd name="T32" fmla="*/ 133 w 133"/>
                <a:gd name="T33" fmla="*/ 4 h 337"/>
                <a:gd name="T34" fmla="*/ 133 w 133"/>
                <a:gd name="T35" fmla="*/ 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337">
                  <a:moveTo>
                    <a:pt x="133" y="36"/>
                  </a:moveTo>
                  <a:cubicBezTo>
                    <a:pt x="126" y="32"/>
                    <a:pt x="118" y="30"/>
                    <a:pt x="110" y="30"/>
                  </a:cubicBezTo>
                  <a:cubicBezTo>
                    <a:pt x="85" y="30"/>
                    <a:pt x="73" y="46"/>
                    <a:pt x="73" y="78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43"/>
                    <a:pt x="124" y="143"/>
                    <a:pt x="124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337"/>
                    <a:pt x="73" y="337"/>
                    <a:pt x="73" y="337"/>
                  </a:cubicBezTo>
                  <a:cubicBezTo>
                    <a:pt x="37" y="337"/>
                    <a:pt x="37" y="337"/>
                    <a:pt x="37" y="337"/>
                  </a:cubicBezTo>
                  <a:cubicBezTo>
                    <a:pt x="37" y="143"/>
                    <a:pt x="37" y="143"/>
                    <a:pt x="37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53"/>
                    <a:pt x="44" y="35"/>
                    <a:pt x="57" y="21"/>
                  </a:cubicBezTo>
                  <a:cubicBezTo>
                    <a:pt x="70" y="7"/>
                    <a:pt x="87" y="0"/>
                    <a:pt x="107" y="0"/>
                  </a:cubicBezTo>
                  <a:cubicBezTo>
                    <a:pt x="118" y="0"/>
                    <a:pt x="127" y="1"/>
                    <a:pt x="133" y="4"/>
                  </a:cubicBezTo>
                  <a:lnTo>
                    <a:pt x="133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4"/>
            <p:cNvSpPr>
              <a:spLocks noEditPoints="1"/>
            </p:cNvSpPr>
            <p:nvPr userDrawn="1"/>
          </p:nvSpPr>
          <p:spPr bwMode="auto">
            <a:xfrm>
              <a:off x="3541" y="2879"/>
              <a:ext cx="456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1 w 193"/>
                <a:gd name="T35" fmla="*/ 31 h 235"/>
                <a:gd name="T36" fmla="*/ 59 w 193"/>
                <a:gd name="T37" fmla="*/ 49 h 235"/>
                <a:gd name="T38" fmla="*/ 37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2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2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0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1" y="59"/>
                    <a:pt x="142" y="48"/>
                  </a:cubicBezTo>
                  <a:cubicBezTo>
                    <a:pt x="132" y="36"/>
                    <a:pt x="119" y="31"/>
                    <a:pt x="101" y="31"/>
                  </a:cubicBezTo>
                  <a:cubicBezTo>
                    <a:pt x="85" y="31"/>
                    <a:pt x="71" y="37"/>
                    <a:pt x="59" y="49"/>
                  </a:cubicBezTo>
                  <a:cubicBezTo>
                    <a:pt x="48" y="60"/>
                    <a:pt x="40" y="76"/>
                    <a:pt x="37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5"/>
            <p:cNvSpPr>
              <a:spLocks/>
            </p:cNvSpPr>
            <p:nvPr userDrawn="1"/>
          </p:nvSpPr>
          <p:spPr bwMode="auto">
            <a:xfrm>
              <a:off x="4118" y="2882"/>
              <a:ext cx="274" cy="541"/>
            </a:xfrm>
            <a:custGeom>
              <a:avLst/>
              <a:gdLst>
                <a:gd name="T0" fmla="*/ 116 w 116"/>
                <a:gd name="T1" fmla="*/ 41 h 229"/>
                <a:gd name="T2" fmla="*/ 89 w 116"/>
                <a:gd name="T3" fmla="*/ 33 h 229"/>
                <a:gd name="T4" fmla="*/ 50 w 116"/>
                <a:gd name="T5" fmla="*/ 56 h 229"/>
                <a:gd name="T6" fmla="*/ 36 w 116"/>
                <a:gd name="T7" fmla="*/ 114 h 229"/>
                <a:gd name="T8" fmla="*/ 36 w 116"/>
                <a:gd name="T9" fmla="*/ 229 h 229"/>
                <a:gd name="T10" fmla="*/ 0 w 116"/>
                <a:gd name="T11" fmla="*/ 229 h 229"/>
                <a:gd name="T12" fmla="*/ 0 w 116"/>
                <a:gd name="T13" fmla="*/ 4 h 229"/>
                <a:gd name="T14" fmla="*/ 36 w 116"/>
                <a:gd name="T15" fmla="*/ 4 h 229"/>
                <a:gd name="T16" fmla="*/ 36 w 116"/>
                <a:gd name="T17" fmla="*/ 51 h 229"/>
                <a:gd name="T18" fmla="*/ 37 w 116"/>
                <a:gd name="T19" fmla="*/ 51 h 229"/>
                <a:gd name="T20" fmla="*/ 59 w 116"/>
                <a:gd name="T21" fmla="*/ 14 h 229"/>
                <a:gd name="T22" fmla="*/ 94 w 116"/>
                <a:gd name="T23" fmla="*/ 0 h 229"/>
                <a:gd name="T24" fmla="*/ 116 w 116"/>
                <a:gd name="T25" fmla="*/ 3 h 229"/>
                <a:gd name="T26" fmla="*/ 116 w 116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229">
                  <a:moveTo>
                    <a:pt x="116" y="41"/>
                  </a:moveTo>
                  <a:cubicBezTo>
                    <a:pt x="109" y="36"/>
                    <a:pt x="100" y="33"/>
                    <a:pt x="89" y="33"/>
                  </a:cubicBezTo>
                  <a:cubicBezTo>
                    <a:pt x="73" y="33"/>
                    <a:pt x="60" y="41"/>
                    <a:pt x="50" y="56"/>
                  </a:cubicBezTo>
                  <a:cubicBezTo>
                    <a:pt x="41" y="71"/>
                    <a:pt x="36" y="90"/>
                    <a:pt x="36" y="114"/>
                  </a:cubicBezTo>
                  <a:cubicBezTo>
                    <a:pt x="36" y="229"/>
                    <a:pt x="36" y="229"/>
                    <a:pt x="36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42" y="35"/>
                    <a:pt x="49" y="23"/>
                    <a:pt x="59" y="14"/>
                  </a:cubicBezTo>
                  <a:cubicBezTo>
                    <a:pt x="69" y="5"/>
                    <a:pt x="81" y="0"/>
                    <a:pt x="94" y="0"/>
                  </a:cubicBezTo>
                  <a:cubicBezTo>
                    <a:pt x="104" y="0"/>
                    <a:pt x="111" y="1"/>
                    <a:pt x="116" y="3"/>
                  </a:cubicBezTo>
                  <a:lnTo>
                    <a:pt x="11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36"/>
            <p:cNvSpPr>
              <a:spLocks noEditPoints="1"/>
            </p:cNvSpPr>
            <p:nvPr userDrawn="1"/>
          </p:nvSpPr>
          <p:spPr bwMode="auto">
            <a:xfrm>
              <a:off x="4428" y="2879"/>
              <a:ext cx="457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2 w 193"/>
                <a:gd name="T35" fmla="*/ 31 h 235"/>
                <a:gd name="T36" fmla="*/ 60 w 193"/>
                <a:gd name="T37" fmla="*/ 49 h 235"/>
                <a:gd name="T38" fmla="*/ 38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3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3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1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1" y="59"/>
                    <a:pt x="142" y="48"/>
                  </a:cubicBezTo>
                  <a:cubicBezTo>
                    <a:pt x="132" y="36"/>
                    <a:pt x="119" y="31"/>
                    <a:pt x="102" y="31"/>
                  </a:cubicBezTo>
                  <a:cubicBezTo>
                    <a:pt x="85" y="31"/>
                    <a:pt x="71" y="37"/>
                    <a:pt x="60" y="49"/>
                  </a:cubicBezTo>
                  <a:cubicBezTo>
                    <a:pt x="48" y="60"/>
                    <a:pt x="41" y="76"/>
                    <a:pt x="38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37"/>
            <p:cNvSpPr>
              <a:spLocks/>
            </p:cNvSpPr>
            <p:nvPr userDrawn="1"/>
          </p:nvSpPr>
          <p:spPr bwMode="auto">
            <a:xfrm>
              <a:off x="5008" y="2879"/>
              <a:ext cx="432" cy="544"/>
            </a:xfrm>
            <a:custGeom>
              <a:avLst/>
              <a:gdLst>
                <a:gd name="T0" fmla="*/ 183 w 183"/>
                <a:gd name="T1" fmla="*/ 230 h 230"/>
                <a:gd name="T2" fmla="*/ 147 w 183"/>
                <a:gd name="T3" fmla="*/ 230 h 230"/>
                <a:gd name="T4" fmla="*/ 147 w 183"/>
                <a:gd name="T5" fmla="*/ 102 h 230"/>
                <a:gd name="T6" fmla="*/ 96 w 183"/>
                <a:gd name="T7" fmla="*/ 31 h 230"/>
                <a:gd name="T8" fmla="*/ 52 w 183"/>
                <a:gd name="T9" fmla="*/ 51 h 230"/>
                <a:gd name="T10" fmla="*/ 35 w 183"/>
                <a:gd name="T11" fmla="*/ 102 h 230"/>
                <a:gd name="T12" fmla="*/ 35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5 w 183"/>
                <a:gd name="T19" fmla="*/ 5 h 230"/>
                <a:gd name="T20" fmla="*/ 35 w 183"/>
                <a:gd name="T21" fmla="*/ 43 h 230"/>
                <a:gd name="T22" fmla="*/ 36 w 183"/>
                <a:gd name="T23" fmla="*/ 43 h 230"/>
                <a:gd name="T24" fmla="*/ 108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7" y="230"/>
                    <a:pt x="147" y="230"/>
                    <a:pt x="147" y="230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54"/>
                    <a:pt x="130" y="31"/>
                    <a:pt x="96" y="31"/>
                  </a:cubicBezTo>
                  <a:cubicBezTo>
                    <a:pt x="79" y="31"/>
                    <a:pt x="64" y="37"/>
                    <a:pt x="52" y="51"/>
                  </a:cubicBezTo>
                  <a:cubicBezTo>
                    <a:pt x="41" y="64"/>
                    <a:pt x="35" y="81"/>
                    <a:pt x="35" y="102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52" y="14"/>
                    <a:pt x="76" y="0"/>
                    <a:pt x="108" y="0"/>
                  </a:cubicBezTo>
                  <a:cubicBezTo>
                    <a:pt x="132" y="0"/>
                    <a:pt x="151" y="8"/>
                    <a:pt x="164" y="24"/>
                  </a:cubicBezTo>
                  <a:cubicBezTo>
                    <a:pt x="176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38"/>
            <p:cNvSpPr>
              <a:spLocks/>
            </p:cNvSpPr>
            <p:nvPr userDrawn="1"/>
          </p:nvSpPr>
          <p:spPr bwMode="auto">
            <a:xfrm>
              <a:off x="5559" y="2879"/>
              <a:ext cx="390" cy="556"/>
            </a:xfrm>
            <a:custGeom>
              <a:avLst/>
              <a:gdLst>
                <a:gd name="T0" fmla="*/ 165 w 165"/>
                <a:gd name="T1" fmla="*/ 219 h 235"/>
                <a:gd name="T2" fmla="*/ 104 w 165"/>
                <a:gd name="T3" fmla="*/ 235 h 235"/>
                <a:gd name="T4" fmla="*/ 50 w 165"/>
                <a:gd name="T5" fmla="*/ 221 h 235"/>
                <a:gd name="T6" fmla="*/ 13 w 165"/>
                <a:gd name="T7" fmla="*/ 181 h 235"/>
                <a:gd name="T8" fmla="*/ 0 w 165"/>
                <a:gd name="T9" fmla="*/ 123 h 235"/>
                <a:gd name="T10" fmla="*/ 31 w 165"/>
                <a:gd name="T11" fmla="*/ 34 h 235"/>
                <a:gd name="T12" fmla="*/ 114 w 165"/>
                <a:gd name="T13" fmla="*/ 0 h 235"/>
                <a:gd name="T14" fmla="*/ 165 w 165"/>
                <a:gd name="T15" fmla="*/ 11 h 235"/>
                <a:gd name="T16" fmla="*/ 165 w 165"/>
                <a:gd name="T17" fmla="*/ 48 h 235"/>
                <a:gd name="T18" fmla="*/ 113 w 165"/>
                <a:gd name="T19" fmla="*/ 31 h 235"/>
                <a:gd name="T20" fmla="*/ 57 w 165"/>
                <a:gd name="T21" fmla="*/ 55 h 235"/>
                <a:gd name="T22" fmla="*/ 36 w 165"/>
                <a:gd name="T23" fmla="*/ 120 h 235"/>
                <a:gd name="T24" fmla="*/ 56 w 165"/>
                <a:gd name="T25" fmla="*/ 182 h 235"/>
                <a:gd name="T26" fmla="*/ 111 w 165"/>
                <a:gd name="T27" fmla="*/ 204 h 235"/>
                <a:gd name="T28" fmla="*/ 165 w 165"/>
                <a:gd name="T29" fmla="*/ 185 h 235"/>
                <a:gd name="T30" fmla="*/ 165 w 165"/>
                <a:gd name="T31" fmla="*/ 21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5" h="235">
                  <a:moveTo>
                    <a:pt x="165" y="219"/>
                  </a:moveTo>
                  <a:cubicBezTo>
                    <a:pt x="148" y="230"/>
                    <a:pt x="128" y="235"/>
                    <a:pt x="104" y="235"/>
                  </a:cubicBezTo>
                  <a:cubicBezTo>
                    <a:pt x="84" y="235"/>
                    <a:pt x="66" y="230"/>
                    <a:pt x="50" y="221"/>
                  </a:cubicBezTo>
                  <a:cubicBezTo>
                    <a:pt x="34" y="212"/>
                    <a:pt x="22" y="198"/>
                    <a:pt x="13" y="181"/>
                  </a:cubicBezTo>
                  <a:cubicBezTo>
                    <a:pt x="4" y="164"/>
                    <a:pt x="0" y="144"/>
                    <a:pt x="0" y="123"/>
                  </a:cubicBezTo>
                  <a:cubicBezTo>
                    <a:pt x="0" y="86"/>
                    <a:pt x="10" y="56"/>
                    <a:pt x="31" y="34"/>
                  </a:cubicBezTo>
                  <a:cubicBezTo>
                    <a:pt x="52" y="11"/>
                    <a:pt x="80" y="0"/>
                    <a:pt x="114" y="0"/>
                  </a:cubicBezTo>
                  <a:cubicBezTo>
                    <a:pt x="134" y="0"/>
                    <a:pt x="151" y="4"/>
                    <a:pt x="165" y="11"/>
                  </a:cubicBezTo>
                  <a:cubicBezTo>
                    <a:pt x="165" y="48"/>
                    <a:pt x="165" y="48"/>
                    <a:pt x="165" y="48"/>
                  </a:cubicBezTo>
                  <a:cubicBezTo>
                    <a:pt x="149" y="36"/>
                    <a:pt x="131" y="31"/>
                    <a:pt x="113" y="31"/>
                  </a:cubicBezTo>
                  <a:cubicBezTo>
                    <a:pt x="90" y="31"/>
                    <a:pt x="71" y="39"/>
                    <a:pt x="57" y="55"/>
                  </a:cubicBezTo>
                  <a:cubicBezTo>
                    <a:pt x="43" y="72"/>
                    <a:pt x="36" y="93"/>
                    <a:pt x="36" y="120"/>
                  </a:cubicBezTo>
                  <a:cubicBezTo>
                    <a:pt x="36" y="146"/>
                    <a:pt x="42" y="167"/>
                    <a:pt x="56" y="182"/>
                  </a:cubicBezTo>
                  <a:cubicBezTo>
                    <a:pt x="70" y="197"/>
                    <a:pt x="88" y="204"/>
                    <a:pt x="111" y="204"/>
                  </a:cubicBezTo>
                  <a:cubicBezTo>
                    <a:pt x="130" y="204"/>
                    <a:pt x="148" y="198"/>
                    <a:pt x="165" y="185"/>
                  </a:cubicBezTo>
                  <a:lnTo>
                    <a:pt x="165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39"/>
            <p:cNvSpPr>
              <a:spLocks noEditPoints="1"/>
            </p:cNvSpPr>
            <p:nvPr userDrawn="1"/>
          </p:nvSpPr>
          <p:spPr bwMode="auto">
            <a:xfrm>
              <a:off x="6037" y="2879"/>
              <a:ext cx="454" cy="556"/>
            </a:xfrm>
            <a:custGeom>
              <a:avLst/>
              <a:gdLst>
                <a:gd name="T0" fmla="*/ 192 w 192"/>
                <a:gd name="T1" fmla="*/ 126 h 235"/>
                <a:gd name="T2" fmla="*/ 36 w 192"/>
                <a:gd name="T3" fmla="*/ 126 h 235"/>
                <a:gd name="T4" fmla="*/ 56 w 192"/>
                <a:gd name="T5" fmla="*/ 184 h 235"/>
                <a:gd name="T6" fmla="*/ 108 w 192"/>
                <a:gd name="T7" fmla="*/ 204 h 235"/>
                <a:gd name="T8" fmla="*/ 177 w 192"/>
                <a:gd name="T9" fmla="*/ 180 h 235"/>
                <a:gd name="T10" fmla="*/ 177 w 192"/>
                <a:gd name="T11" fmla="*/ 213 h 235"/>
                <a:gd name="T12" fmla="*/ 100 w 192"/>
                <a:gd name="T13" fmla="*/ 235 h 235"/>
                <a:gd name="T14" fmla="*/ 26 w 192"/>
                <a:gd name="T15" fmla="*/ 204 h 235"/>
                <a:gd name="T16" fmla="*/ 0 w 192"/>
                <a:gd name="T17" fmla="*/ 118 h 235"/>
                <a:gd name="T18" fmla="*/ 13 w 192"/>
                <a:gd name="T19" fmla="*/ 58 h 235"/>
                <a:gd name="T20" fmla="*/ 49 w 192"/>
                <a:gd name="T21" fmla="*/ 15 h 235"/>
                <a:gd name="T22" fmla="*/ 101 w 192"/>
                <a:gd name="T23" fmla="*/ 0 h 235"/>
                <a:gd name="T24" fmla="*/ 168 w 192"/>
                <a:gd name="T25" fmla="*/ 28 h 235"/>
                <a:gd name="T26" fmla="*/ 192 w 192"/>
                <a:gd name="T27" fmla="*/ 108 h 235"/>
                <a:gd name="T28" fmla="*/ 192 w 192"/>
                <a:gd name="T29" fmla="*/ 126 h 235"/>
                <a:gd name="T30" fmla="*/ 156 w 192"/>
                <a:gd name="T31" fmla="*/ 96 h 235"/>
                <a:gd name="T32" fmla="*/ 141 w 192"/>
                <a:gd name="T33" fmla="*/ 48 h 235"/>
                <a:gd name="T34" fmla="*/ 101 w 192"/>
                <a:gd name="T35" fmla="*/ 31 h 235"/>
                <a:gd name="T36" fmla="*/ 59 w 192"/>
                <a:gd name="T37" fmla="*/ 49 h 235"/>
                <a:gd name="T38" fmla="*/ 37 w 192"/>
                <a:gd name="T39" fmla="*/ 96 h 235"/>
                <a:gd name="T40" fmla="*/ 156 w 192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35">
                  <a:moveTo>
                    <a:pt x="192" y="126"/>
                  </a:moveTo>
                  <a:cubicBezTo>
                    <a:pt x="36" y="126"/>
                    <a:pt x="36" y="126"/>
                    <a:pt x="36" y="126"/>
                  </a:cubicBezTo>
                  <a:cubicBezTo>
                    <a:pt x="37" y="152"/>
                    <a:pt x="43" y="171"/>
                    <a:pt x="56" y="184"/>
                  </a:cubicBezTo>
                  <a:cubicBezTo>
                    <a:pt x="69" y="198"/>
                    <a:pt x="86" y="204"/>
                    <a:pt x="108" y="204"/>
                  </a:cubicBezTo>
                  <a:cubicBezTo>
                    <a:pt x="133" y="204"/>
                    <a:pt x="156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7" y="228"/>
                    <a:pt x="132" y="235"/>
                    <a:pt x="100" y="235"/>
                  </a:cubicBezTo>
                  <a:cubicBezTo>
                    <a:pt x="68" y="235"/>
                    <a:pt x="44" y="225"/>
                    <a:pt x="26" y="204"/>
                  </a:cubicBezTo>
                  <a:cubicBezTo>
                    <a:pt x="8" y="183"/>
                    <a:pt x="0" y="155"/>
                    <a:pt x="0" y="118"/>
                  </a:cubicBezTo>
                  <a:cubicBezTo>
                    <a:pt x="0" y="96"/>
                    <a:pt x="4" y="76"/>
                    <a:pt x="13" y="58"/>
                  </a:cubicBezTo>
                  <a:cubicBezTo>
                    <a:pt x="22" y="39"/>
                    <a:pt x="34" y="25"/>
                    <a:pt x="49" y="15"/>
                  </a:cubicBezTo>
                  <a:cubicBezTo>
                    <a:pt x="65" y="5"/>
                    <a:pt x="82" y="0"/>
                    <a:pt x="101" y="0"/>
                  </a:cubicBezTo>
                  <a:cubicBezTo>
                    <a:pt x="130" y="0"/>
                    <a:pt x="152" y="9"/>
                    <a:pt x="168" y="28"/>
                  </a:cubicBezTo>
                  <a:cubicBezTo>
                    <a:pt x="184" y="47"/>
                    <a:pt x="192" y="74"/>
                    <a:pt x="192" y="108"/>
                  </a:cubicBezTo>
                  <a:lnTo>
                    <a:pt x="192" y="126"/>
                  </a:lnTo>
                  <a:close/>
                  <a:moveTo>
                    <a:pt x="156" y="96"/>
                  </a:moveTo>
                  <a:cubicBezTo>
                    <a:pt x="156" y="75"/>
                    <a:pt x="151" y="59"/>
                    <a:pt x="141" y="48"/>
                  </a:cubicBezTo>
                  <a:cubicBezTo>
                    <a:pt x="132" y="36"/>
                    <a:pt x="118" y="31"/>
                    <a:pt x="101" y="31"/>
                  </a:cubicBezTo>
                  <a:cubicBezTo>
                    <a:pt x="84" y="31"/>
                    <a:pt x="70" y="37"/>
                    <a:pt x="59" y="49"/>
                  </a:cubicBezTo>
                  <a:cubicBezTo>
                    <a:pt x="47" y="60"/>
                    <a:pt x="40" y="76"/>
                    <a:pt x="37" y="96"/>
                  </a:cubicBezTo>
                  <a:lnTo>
                    <a:pt x="15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0"/>
            <p:cNvSpPr>
              <a:spLocks/>
            </p:cNvSpPr>
            <p:nvPr userDrawn="1"/>
          </p:nvSpPr>
          <p:spPr bwMode="auto">
            <a:xfrm>
              <a:off x="1388" y="3830"/>
              <a:ext cx="282" cy="404"/>
            </a:xfrm>
            <a:custGeom>
              <a:avLst/>
              <a:gdLst>
                <a:gd name="T0" fmla="*/ 282 w 282"/>
                <a:gd name="T1" fmla="*/ 42 h 404"/>
                <a:gd name="T2" fmla="*/ 166 w 282"/>
                <a:gd name="T3" fmla="*/ 42 h 404"/>
                <a:gd name="T4" fmla="*/ 166 w 282"/>
                <a:gd name="T5" fmla="*/ 404 h 404"/>
                <a:gd name="T6" fmla="*/ 119 w 282"/>
                <a:gd name="T7" fmla="*/ 404 h 404"/>
                <a:gd name="T8" fmla="*/ 119 w 282"/>
                <a:gd name="T9" fmla="*/ 42 h 404"/>
                <a:gd name="T10" fmla="*/ 0 w 282"/>
                <a:gd name="T11" fmla="*/ 42 h 404"/>
                <a:gd name="T12" fmla="*/ 0 w 282"/>
                <a:gd name="T13" fmla="*/ 0 h 404"/>
                <a:gd name="T14" fmla="*/ 282 w 282"/>
                <a:gd name="T15" fmla="*/ 0 h 404"/>
                <a:gd name="T16" fmla="*/ 282 w 282"/>
                <a:gd name="T17" fmla="*/ 4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2" h="404">
                  <a:moveTo>
                    <a:pt x="282" y="42"/>
                  </a:moveTo>
                  <a:lnTo>
                    <a:pt x="166" y="42"/>
                  </a:lnTo>
                  <a:lnTo>
                    <a:pt x="166" y="404"/>
                  </a:lnTo>
                  <a:lnTo>
                    <a:pt x="119" y="404"/>
                  </a:lnTo>
                  <a:lnTo>
                    <a:pt x="119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282" y="0"/>
                  </a:lnTo>
                  <a:lnTo>
                    <a:pt x="28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1"/>
            <p:cNvSpPr>
              <a:spLocks noEditPoints="1"/>
            </p:cNvSpPr>
            <p:nvPr userDrawn="1"/>
          </p:nvSpPr>
          <p:spPr bwMode="auto">
            <a:xfrm>
              <a:off x="1646" y="3939"/>
              <a:ext cx="284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6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6" y="18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0" y="0"/>
                    <a:pt x="94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3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2"/>
            <p:cNvSpPr>
              <a:spLocks/>
            </p:cNvSpPr>
            <p:nvPr userDrawn="1"/>
          </p:nvSpPr>
          <p:spPr bwMode="auto">
            <a:xfrm>
              <a:off x="2001" y="3941"/>
              <a:ext cx="151" cy="293"/>
            </a:xfrm>
            <a:custGeom>
              <a:avLst/>
              <a:gdLst>
                <a:gd name="T0" fmla="*/ 64 w 64"/>
                <a:gd name="T1" fmla="*/ 22 h 124"/>
                <a:gd name="T2" fmla="*/ 49 w 64"/>
                <a:gd name="T3" fmla="*/ 18 h 124"/>
                <a:gd name="T4" fmla="*/ 28 w 64"/>
                <a:gd name="T5" fmla="*/ 30 h 124"/>
                <a:gd name="T6" fmla="*/ 20 w 64"/>
                <a:gd name="T7" fmla="*/ 62 h 124"/>
                <a:gd name="T8" fmla="*/ 20 w 64"/>
                <a:gd name="T9" fmla="*/ 124 h 124"/>
                <a:gd name="T10" fmla="*/ 0 w 64"/>
                <a:gd name="T11" fmla="*/ 124 h 124"/>
                <a:gd name="T12" fmla="*/ 0 w 64"/>
                <a:gd name="T13" fmla="*/ 2 h 124"/>
                <a:gd name="T14" fmla="*/ 20 w 64"/>
                <a:gd name="T15" fmla="*/ 2 h 124"/>
                <a:gd name="T16" fmla="*/ 20 w 64"/>
                <a:gd name="T17" fmla="*/ 27 h 124"/>
                <a:gd name="T18" fmla="*/ 20 w 64"/>
                <a:gd name="T19" fmla="*/ 27 h 124"/>
                <a:gd name="T20" fmla="*/ 33 w 64"/>
                <a:gd name="T21" fmla="*/ 7 h 124"/>
                <a:gd name="T22" fmla="*/ 52 w 64"/>
                <a:gd name="T23" fmla="*/ 0 h 124"/>
                <a:gd name="T24" fmla="*/ 64 w 64"/>
                <a:gd name="T25" fmla="*/ 2 h 124"/>
                <a:gd name="T26" fmla="*/ 64 w 64"/>
                <a:gd name="T27" fmla="*/ 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24">
                  <a:moveTo>
                    <a:pt x="64" y="22"/>
                  </a:moveTo>
                  <a:cubicBezTo>
                    <a:pt x="61" y="19"/>
                    <a:pt x="56" y="18"/>
                    <a:pt x="49" y="18"/>
                  </a:cubicBezTo>
                  <a:cubicBezTo>
                    <a:pt x="40" y="18"/>
                    <a:pt x="33" y="22"/>
                    <a:pt x="28" y="30"/>
                  </a:cubicBezTo>
                  <a:cubicBezTo>
                    <a:pt x="23" y="38"/>
                    <a:pt x="20" y="49"/>
                    <a:pt x="20" y="62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3" y="19"/>
                    <a:pt x="27" y="12"/>
                    <a:pt x="33" y="7"/>
                  </a:cubicBezTo>
                  <a:cubicBezTo>
                    <a:pt x="39" y="2"/>
                    <a:pt x="45" y="0"/>
                    <a:pt x="52" y="0"/>
                  </a:cubicBezTo>
                  <a:cubicBezTo>
                    <a:pt x="57" y="0"/>
                    <a:pt x="61" y="0"/>
                    <a:pt x="64" y="2"/>
                  </a:cubicBezTo>
                  <a:lnTo>
                    <a:pt x="6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3"/>
            <p:cNvSpPr>
              <a:spLocks noEditPoints="1"/>
            </p:cNvSpPr>
            <p:nvPr userDrawn="1"/>
          </p:nvSpPr>
          <p:spPr bwMode="auto">
            <a:xfrm>
              <a:off x="2174" y="3939"/>
              <a:ext cx="283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6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6" y="18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0" y="0"/>
                    <a:pt x="94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3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2" name="Freeform 44"/>
            <p:cNvSpPr>
              <a:spLocks/>
            </p:cNvSpPr>
            <p:nvPr userDrawn="1"/>
          </p:nvSpPr>
          <p:spPr bwMode="auto">
            <a:xfrm>
              <a:off x="2528" y="3939"/>
              <a:ext cx="242" cy="295"/>
            </a:xfrm>
            <a:custGeom>
              <a:avLst/>
              <a:gdLst>
                <a:gd name="T0" fmla="*/ 102 w 102"/>
                <a:gd name="T1" fmla="*/ 125 h 125"/>
                <a:gd name="T2" fmla="*/ 82 w 102"/>
                <a:gd name="T3" fmla="*/ 125 h 125"/>
                <a:gd name="T4" fmla="*/ 82 w 102"/>
                <a:gd name="T5" fmla="*/ 55 h 125"/>
                <a:gd name="T6" fmla="*/ 54 w 102"/>
                <a:gd name="T7" fmla="*/ 17 h 125"/>
                <a:gd name="T8" fmla="*/ 30 w 102"/>
                <a:gd name="T9" fmla="*/ 28 h 125"/>
                <a:gd name="T10" fmla="*/ 20 w 102"/>
                <a:gd name="T11" fmla="*/ 55 h 125"/>
                <a:gd name="T12" fmla="*/ 20 w 102"/>
                <a:gd name="T13" fmla="*/ 125 h 125"/>
                <a:gd name="T14" fmla="*/ 0 w 102"/>
                <a:gd name="T15" fmla="*/ 125 h 125"/>
                <a:gd name="T16" fmla="*/ 0 w 102"/>
                <a:gd name="T17" fmla="*/ 3 h 125"/>
                <a:gd name="T18" fmla="*/ 20 w 102"/>
                <a:gd name="T19" fmla="*/ 3 h 125"/>
                <a:gd name="T20" fmla="*/ 20 w 102"/>
                <a:gd name="T21" fmla="*/ 23 h 125"/>
                <a:gd name="T22" fmla="*/ 20 w 102"/>
                <a:gd name="T23" fmla="*/ 23 h 125"/>
                <a:gd name="T24" fmla="*/ 60 w 102"/>
                <a:gd name="T25" fmla="*/ 0 h 125"/>
                <a:gd name="T26" fmla="*/ 91 w 102"/>
                <a:gd name="T27" fmla="*/ 13 h 125"/>
                <a:gd name="T28" fmla="*/ 102 w 102"/>
                <a:gd name="T29" fmla="*/ 50 h 125"/>
                <a:gd name="T30" fmla="*/ 102 w 102"/>
                <a:gd name="T3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25">
                  <a:moveTo>
                    <a:pt x="102" y="125"/>
                  </a:moveTo>
                  <a:cubicBezTo>
                    <a:pt x="82" y="125"/>
                    <a:pt x="82" y="125"/>
                    <a:pt x="82" y="12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30"/>
                    <a:pt x="73" y="17"/>
                    <a:pt x="54" y="17"/>
                  </a:cubicBezTo>
                  <a:cubicBezTo>
                    <a:pt x="44" y="17"/>
                    <a:pt x="36" y="20"/>
                    <a:pt x="30" y="28"/>
                  </a:cubicBezTo>
                  <a:cubicBezTo>
                    <a:pt x="23" y="35"/>
                    <a:pt x="20" y="44"/>
                    <a:pt x="20" y="55"/>
                  </a:cubicBezTo>
                  <a:cubicBezTo>
                    <a:pt x="20" y="125"/>
                    <a:pt x="20" y="125"/>
                    <a:pt x="2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9" y="8"/>
                    <a:pt x="43" y="0"/>
                    <a:pt x="60" y="0"/>
                  </a:cubicBezTo>
                  <a:cubicBezTo>
                    <a:pt x="74" y="0"/>
                    <a:pt x="84" y="4"/>
                    <a:pt x="91" y="13"/>
                  </a:cubicBezTo>
                  <a:cubicBezTo>
                    <a:pt x="98" y="22"/>
                    <a:pt x="102" y="34"/>
                    <a:pt x="102" y="50"/>
                  </a:cubicBezTo>
                  <a:lnTo>
                    <a:pt x="1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5"/>
            <p:cNvSpPr>
              <a:spLocks/>
            </p:cNvSpPr>
            <p:nvPr userDrawn="1"/>
          </p:nvSpPr>
          <p:spPr bwMode="auto">
            <a:xfrm>
              <a:off x="2822" y="3861"/>
              <a:ext cx="168" cy="380"/>
            </a:xfrm>
            <a:custGeom>
              <a:avLst/>
              <a:gdLst>
                <a:gd name="T0" fmla="*/ 71 w 71"/>
                <a:gd name="T1" fmla="*/ 157 h 161"/>
                <a:gd name="T2" fmla="*/ 53 w 71"/>
                <a:gd name="T3" fmla="*/ 161 h 161"/>
                <a:gd name="T4" fmla="*/ 21 w 71"/>
                <a:gd name="T5" fmla="*/ 125 h 161"/>
                <a:gd name="T6" fmla="*/ 21 w 71"/>
                <a:gd name="T7" fmla="*/ 53 h 161"/>
                <a:gd name="T8" fmla="*/ 0 w 71"/>
                <a:gd name="T9" fmla="*/ 53 h 161"/>
                <a:gd name="T10" fmla="*/ 0 w 71"/>
                <a:gd name="T11" fmla="*/ 36 h 161"/>
                <a:gd name="T12" fmla="*/ 21 w 71"/>
                <a:gd name="T13" fmla="*/ 36 h 161"/>
                <a:gd name="T14" fmla="*/ 21 w 71"/>
                <a:gd name="T15" fmla="*/ 6 h 161"/>
                <a:gd name="T16" fmla="*/ 40 w 71"/>
                <a:gd name="T17" fmla="*/ 0 h 161"/>
                <a:gd name="T18" fmla="*/ 40 w 71"/>
                <a:gd name="T19" fmla="*/ 36 h 161"/>
                <a:gd name="T20" fmla="*/ 71 w 71"/>
                <a:gd name="T21" fmla="*/ 36 h 161"/>
                <a:gd name="T22" fmla="*/ 71 w 71"/>
                <a:gd name="T23" fmla="*/ 53 h 161"/>
                <a:gd name="T24" fmla="*/ 40 w 71"/>
                <a:gd name="T25" fmla="*/ 53 h 161"/>
                <a:gd name="T26" fmla="*/ 40 w 71"/>
                <a:gd name="T27" fmla="*/ 122 h 161"/>
                <a:gd name="T28" fmla="*/ 45 w 71"/>
                <a:gd name="T29" fmla="*/ 139 h 161"/>
                <a:gd name="T30" fmla="*/ 59 w 71"/>
                <a:gd name="T31" fmla="*/ 144 h 161"/>
                <a:gd name="T32" fmla="*/ 71 w 71"/>
                <a:gd name="T33" fmla="*/ 140 h 161"/>
                <a:gd name="T34" fmla="*/ 71 w 71"/>
                <a:gd name="T35" fmla="*/ 15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161">
                  <a:moveTo>
                    <a:pt x="71" y="157"/>
                  </a:moveTo>
                  <a:cubicBezTo>
                    <a:pt x="66" y="160"/>
                    <a:pt x="60" y="161"/>
                    <a:pt x="53" y="161"/>
                  </a:cubicBezTo>
                  <a:cubicBezTo>
                    <a:pt x="31" y="161"/>
                    <a:pt x="21" y="149"/>
                    <a:pt x="21" y="125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30"/>
                    <a:pt x="42" y="136"/>
                    <a:pt x="45" y="139"/>
                  </a:cubicBezTo>
                  <a:cubicBezTo>
                    <a:pt x="47" y="142"/>
                    <a:pt x="52" y="144"/>
                    <a:pt x="59" y="144"/>
                  </a:cubicBezTo>
                  <a:cubicBezTo>
                    <a:pt x="63" y="144"/>
                    <a:pt x="68" y="143"/>
                    <a:pt x="71" y="140"/>
                  </a:cubicBezTo>
                  <a:lnTo>
                    <a:pt x="71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46"/>
            <p:cNvSpPr>
              <a:spLocks noEditPoints="1"/>
            </p:cNvSpPr>
            <p:nvPr userDrawn="1"/>
          </p:nvSpPr>
          <p:spPr bwMode="auto">
            <a:xfrm>
              <a:off x="3030" y="3939"/>
              <a:ext cx="284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7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7" y="18"/>
                  </a:cubicBezTo>
                  <a:cubicBezTo>
                    <a:pt x="28" y="6"/>
                    <a:pt x="43" y="0"/>
                    <a:pt x="62" y="0"/>
                  </a:cubicBezTo>
                  <a:cubicBezTo>
                    <a:pt x="80" y="0"/>
                    <a:pt x="95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4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47"/>
            <p:cNvSpPr>
              <a:spLocks/>
            </p:cNvSpPr>
            <p:nvPr userDrawn="1"/>
          </p:nvSpPr>
          <p:spPr bwMode="auto">
            <a:xfrm>
              <a:off x="3349" y="4170"/>
              <a:ext cx="78" cy="140"/>
            </a:xfrm>
            <a:custGeom>
              <a:avLst/>
              <a:gdLst>
                <a:gd name="T0" fmla="*/ 78 w 78"/>
                <a:gd name="T1" fmla="*/ 0 h 140"/>
                <a:gd name="T2" fmla="*/ 33 w 78"/>
                <a:gd name="T3" fmla="*/ 140 h 140"/>
                <a:gd name="T4" fmla="*/ 0 w 78"/>
                <a:gd name="T5" fmla="*/ 140 h 140"/>
                <a:gd name="T6" fmla="*/ 33 w 78"/>
                <a:gd name="T7" fmla="*/ 0 h 140"/>
                <a:gd name="T8" fmla="*/ 78 w 78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40">
                  <a:moveTo>
                    <a:pt x="78" y="0"/>
                  </a:moveTo>
                  <a:lnTo>
                    <a:pt x="33" y="140"/>
                  </a:lnTo>
                  <a:lnTo>
                    <a:pt x="0" y="140"/>
                  </a:lnTo>
                  <a:lnTo>
                    <a:pt x="33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48"/>
            <p:cNvSpPr>
              <a:spLocks/>
            </p:cNvSpPr>
            <p:nvPr userDrawn="1"/>
          </p:nvSpPr>
          <p:spPr bwMode="auto">
            <a:xfrm>
              <a:off x="3626" y="3823"/>
              <a:ext cx="300" cy="418"/>
            </a:xfrm>
            <a:custGeom>
              <a:avLst/>
              <a:gdLst>
                <a:gd name="T0" fmla="*/ 127 w 127"/>
                <a:gd name="T1" fmla="*/ 167 h 177"/>
                <a:gd name="T2" fmla="*/ 80 w 127"/>
                <a:gd name="T3" fmla="*/ 177 h 177"/>
                <a:gd name="T4" fmla="*/ 38 w 127"/>
                <a:gd name="T5" fmla="*/ 166 h 177"/>
                <a:gd name="T6" fmla="*/ 10 w 127"/>
                <a:gd name="T7" fmla="*/ 136 h 177"/>
                <a:gd name="T8" fmla="*/ 0 w 127"/>
                <a:gd name="T9" fmla="*/ 92 h 177"/>
                <a:gd name="T10" fmla="*/ 11 w 127"/>
                <a:gd name="T11" fmla="*/ 45 h 177"/>
                <a:gd name="T12" fmla="*/ 42 w 127"/>
                <a:gd name="T13" fmla="*/ 12 h 177"/>
                <a:gd name="T14" fmla="*/ 87 w 127"/>
                <a:gd name="T15" fmla="*/ 0 h 177"/>
                <a:gd name="T16" fmla="*/ 127 w 127"/>
                <a:gd name="T17" fmla="*/ 7 h 177"/>
                <a:gd name="T18" fmla="*/ 127 w 127"/>
                <a:gd name="T19" fmla="*/ 29 h 177"/>
                <a:gd name="T20" fmla="*/ 87 w 127"/>
                <a:gd name="T21" fmla="*/ 18 h 177"/>
                <a:gd name="T22" fmla="*/ 52 w 127"/>
                <a:gd name="T23" fmla="*/ 27 h 177"/>
                <a:gd name="T24" fmla="*/ 29 w 127"/>
                <a:gd name="T25" fmla="*/ 53 h 177"/>
                <a:gd name="T26" fmla="*/ 21 w 127"/>
                <a:gd name="T27" fmla="*/ 91 h 177"/>
                <a:gd name="T28" fmla="*/ 28 w 127"/>
                <a:gd name="T29" fmla="*/ 127 h 177"/>
                <a:gd name="T30" fmla="*/ 50 w 127"/>
                <a:gd name="T31" fmla="*/ 151 h 177"/>
                <a:gd name="T32" fmla="*/ 83 w 127"/>
                <a:gd name="T33" fmla="*/ 159 h 177"/>
                <a:gd name="T34" fmla="*/ 127 w 127"/>
                <a:gd name="T35" fmla="*/ 148 h 177"/>
                <a:gd name="T36" fmla="*/ 127 w 127"/>
                <a:gd name="T37" fmla="*/ 16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177">
                  <a:moveTo>
                    <a:pt x="127" y="167"/>
                  </a:moveTo>
                  <a:cubicBezTo>
                    <a:pt x="115" y="174"/>
                    <a:pt x="99" y="177"/>
                    <a:pt x="80" y="177"/>
                  </a:cubicBezTo>
                  <a:cubicBezTo>
                    <a:pt x="64" y="177"/>
                    <a:pt x="50" y="174"/>
                    <a:pt x="38" y="166"/>
                  </a:cubicBezTo>
                  <a:cubicBezTo>
                    <a:pt x="26" y="159"/>
                    <a:pt x="16" y="149"/>
                    <a:pt x="10" y="136"/>
                  </a:cubicBezTo>
                  <a:cubicBezTo>
                    <a:pt x="3" y="123"/>
                    <a:pt x="0" y="109"/>
                    <a:pt x="0" y="92"/>
                  </a:cubicBezTo>
                  <a:cubicBezTo>
                    <a:pt x="0" y="74"/>
                    <a:pt x="3" y="59"/>
                    <a:pt x="11" y="45"/>
                  </a:cubicBezTo>
                  <a:cubicBezTo>
                    <a:pt x="18" y="31"/>
                    <a:pt x="29" y="20"/>
                    <a:pt x="42" y="12"/>
                  </a:cubicBezTo>
                  <a:cubicBezTo>
                    <a:pt x="55" y="4"/>
                    <a:pt x="70" y="0"/>
                    <a:pt x="87" y="0"/>
                  </a:cubicBezTo>
                  <a:cubicBezTo>
                    <a:pt x="103" y="0"/>
                    <a:pt x="116" y="3"/>
                    <a:pt x="127" y="7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15" y="22"/>
                    <a:pt x="101" y="18"/>
                    <a:pt x="87" y="18"/>
                  </a:cubicBezTo>
                  <a:cubicBezTo>
                    <a:pt x="74" y="18"/>
                    <a:pt x="62" y="21"/>
                    <a:pt x="52" y="27"/>
                  </a:cubicBezTo>
                  <a:cubicBezTo>
                    <a:pt x="42" y="33"/>
                    <a:pt x="34" y="42"/>
                    <a:pt x="29" y="53"/>
                  </a:cubicBezTo>
                  <a:cubicBezTo>
                    <a:pt x="23" y="64"/>
                    <a:pt x="21" y="76"/>
                    <a:pt x="21" y="91"/>
                  </a:cubicBezTo>
                  <a:cubicBezTo>
                    <a:pt x="21" y="104"/>
                    <a:pt x="23" y="116"/>
                    <a:pt x="28" y="127"/>
                  </a:cubicBezTo>
                  <a:cubicBezTo>
                    <a:pt x="34" y="137"/>
                    <a:pt x="41" y="145"/>
                    <a:pt x="50" y="151"/>
                  </a:cubicBezTo>
                  <a:cubicBezTo>
                    <a:pt x="60" y="156"/>
                    <a:pt x="71" y="159"/>
                    <a:pt x="83" y="159"/>
                  </a:cubicBezTo>
                  <a:cubicBezTo>
                    <a:pt x="100" y="159"/>
                    <a:pt x="115" y="155"/>
                    <a:pt x="127" y="148"/>
                  </a:cubicBezTo>
                  <a:lnTo>
                    <a:pt x="127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49"/>
            <p:cNvSpPr>
              <a:spLocks noEditPoints="1"/>
            </p:cNvSpPr>
            <p:nvPr userDrawn="1"/>
          </p:nvSpPr>
          <p:spPr bwMode="auto">
            <a:xfrm>
              <a:off x="3979" y="3939"/>
              <a:ext cx="229" cy="302"/>
            </a:xfrm>
            <a:custGeom>
              <a:avLst/>
              <a:gdLst>
                <a:gd name="T0" fmla="*/ 97 w 97"/>
                <a:gd name="T1" fmla="*/ 125 h 128"/>
                <a:gd name="T2" fmla="*/ 77 w 97"/>
                <a:gd name="T3" fmla="*/ 125 h 128"/>
                <a:gd name="T4" fmla="*/ 77 w 97"/>
                <a:gd name="T5" fmla="*/ 106 h 128"/>
                <a:gd name="T6" fmla="*/ 77 w 97"/>
                <a:gd name="T7" fmla="*/ 106 h 128"/>
                <a:gd name="T8" fmla="*/ 39 w 97"/>
                <a:gd name="T9" fmla="*/ 128 h 128"/>
                <a:gd name="T10" fmla="*/ 11 w 97"/>
                <a:gd name="T11" fmla="*/ 118 h 128"/>
                <a:gd name="T12" fmla="*/ 0 w 97"/>
                <a:gd name="T13" fmla="*/ 93 h 128"/>
                <a:gd name="T14" fmla="*/ 41 w 97"/>
                <a:gd name="T15" fmla="*/ 53 h 128"/>
                <a:gd name="T16" fmla="*/ 77 w 97"/>
                <a:gd name="T17" fmla="*/ 48 h 128"/>
                <a:gd name="T18" fmla="*/ 52 w 97"/>
                <a:gd name="T19" fmla="*/ 17 h 128"/>
                <a:gd name="T20" fmla="*/ 12 w 97"/>
                <a:gd name="T21" fmla="*/ 32 h 128"/>
                <a:gd name="T22" fmla="*/ 12 w 97"/>
                <a:gd name="T23" fmla="*/ 12 h 128"/>
                <a:gd name="T24" fmla="*/ 31 w 97"/>
                <a:gd name="T25" fmla="*/ 4 h 128"/>
                <a:gd name="T26" fmla="*/ 54 w 97"/>
                <a:gd name="T27" fmla="*/ 0 h 128"/>
                <a:gd name="T28" fmla="*/ 97 w 97"/>
                <a:gd name="T29" fmla="*/ 46 h 128"/>
                <a:gd name="T30" fmla="*/ 97 w 97"/>
                <a:gd name="T31" fmla="*/ 125 h 128"/>
                <a:gd name="T32" fmla="*/ 77 w 97"/>
                <a:gd name="T33" fmla="*/ 63 h 128"/>
                <a:gd name="T34" fmla="*/ 48 w 97"/>
                <a:gd name="T35" fmla="*/ 68 h 128"/>
                <a:gd name="T36" fmla="*/ 27 w 97"/>
                <a:gd name="T37" fmla="*/ 75 h 128"/>
                <a:gd name="T38" fmla="*/ 20 w 97"/>
                <a:gd name="T39" fmla="*/ 91 h 128"/>
                <a:gd name="T40" fmla="*/ 27 w 97"/>
                <a:gd name="T41" fmla="*/ 106 h 128"/>
                <a:gd name="T42" fmla="*/ 44 w 97"/>
                <a:gd name="T43" fmla="*/ 111 h 128"/>
                <a:gd name="T44" fmla="*/ 68 w 97"/>
                <a:gd name="T45" fmla="*/ 101 h 128"/>
                <a:gd name="T46" fmla="*/ 77 w 97"/>
                <a:gd name="T47" fmla="*/ 76 h 128"/>
                <a:gd name="T48" fmla="*/ 77 w 97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7" h="128">
                  <a:moveTo>
                    <a:pt x="97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68" y="121"/>
                    <a:pt x="56" y="128"/>
                    <a:pt x="39" y="128"/>
                  </a:cubicBezTo>
                  <a:cubicBezTo>
                    <a:pt x="28" y="128"/>
                    <a:pt x="18" y="125"/>
                    <a:pt x="11" y="118"/>
                  </a:cubicBezTo>
                  <a:cubicBezTo>
                    <a:pt x="4" y="112"/>
                    <a:pt x="0" y="103"/>
                    <a:pt x="0" y="93"/>
                  </a:cubicBezTo>
                  <a:cubicBezTo>
                    <a:pt x="0" y="70"/>
                    <a:pt x="14" y="57"/>
                    <a:pt x="41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9" y="17"/>
                    <a:pt x="52" y="17"/>
                  </a:cubicBezTo>
                  <a:cubicBezTo>
                    <a:pt x="38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6" y="9"/>
                    <a:pt x="22" y="6"/>
                    <a:pt x="31" y="4"/>
                  </a:cubicBezTo>
                  <a:cubicBezTo>
                    <a:pt x="39" y="1"/>
                    <a:pt x="47" y="0"/>
                    <a:pt x="54" y="0"/>
                  </a:cubicBezTo>
                  <a:cubicBezTo>
                    <a:pt x="83" y="0"/>
                    <a:pt x="97" y="15"/>
                    <a:pt x="97" y="46"/>
                  </a:cubicBezTo>
                  <a:lnTo>
                    <a:pt x="97" y="125"/>
                  </a:lnTo>
                  <a:close/>
                  <a:moveTo>
                    <a:pt x="77" y="63"/>
                  </a:moveTo>
                  <a:cubicBezTo>
                    <a:pt x="48" y="68"/>
                    <a:pt x="48" y="68"/>
                    <a:pt x="48" y="68"/>
                  </a:cubicBezTo>
                  <a:cubicBezTo>
                    <a:pt x="38" y="69"/>
                    <a:pt x="31" y="71"/>
                    <a:pt x="27" y="75"/>
                  </a:cubicBezTo>
                  <a:cubicBezTo>
                    <a:pt x="23" y="78"/>
                    <a:pt x="20" y="84"/>
                    <a:pt x="20" y="91"/>
                  </a:cubicBezTo>
                  <a:cubicBezTo>
                    <a:pt x="20" y="97"/>
                    <a:pt x="23" y="102"/>
                    <a:pt x="27" y="106"/>
                  </a:cubicBezTo>
                  <a:cubicBezTo>
                    <a:pt x="31" y="110"/>
                    <a:pt x="37" y="111"/>
                    <a:pt x="44" y="111"/>
                  </a:cubicBezTo>
                  <a:cubicBezTo>
                    <a:pt x="54" y="111"/>
                    <a:pt x="62" y="108"/>
                    <a:pt x="68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0"/>
            <p:cNvSpPr>
              <a:spLocks/>
            </p:cNvSpPr>
            <p:nvPr userDrawn="1"/>
          </p:nvSpPr>
          <p:spPr bwMode="auto">
            <a:xfrm>
              <a:off x="4296" y="3939"/>
              <a:ext cx="238" cy="295"/>
            </a:xfrm>
            <a:custGeom>
              <a:avLst/>
              <a:gdLst>
                <a:gd name="T0" fmla="*/ 101 w 101"/>
                <a:gd name="T1" fmla="*/ 125 h 125"/>
                <a:gd name="T2" fmla="*/ 82 w 101"/>
                <a:gd name="T3" fmla="*/ 125 h 125"/>
                <a:gd name="T4" fmla="*/ 82 w 101"/>
                <a:gd name="T5" fmla="*/ 55 h 125"/>
                <a:gd name="T6" fmla="*/ 53 w 101"/>
                <a:gd name="T7" fmla="*/ 17 h 125"/>
                <a:gd name="T8" fmla="*/ 29 w 101"/>
                <a:gd name="T9" fmla="*/ 28 h 125"/>
                <a:gd name="T10" fmla="*/ 19 w 101"/>
                <a:gd name="T11" fmla="*/ 55 h 125"/>
                <a:gd name="T12" fmla="*/ 19 w 101"/>
                <a:gd name="T13" fmla="*/ 125 h 125"/>
                <a:gd name="T14" fmla="*/ 0 w 101"/>
                <a:gd name="T15" fmla="*/ 125 h 125"/>
                <a:gd name="T16" fmla="*/ 0 w 101"/>
                <a:gd name="T17" fmla="*/ 3 h 125"/>
                <a:gd name="T18" fmla="*/ 19 w 101"/>
                <a:gd name="T19" fmla="*/ 3 h 125"/>
                <a:gd name="T20" fmla="*/ 19 w 101"/>
                <a:gd name="T21" fmla="*/ 23 h 125"/>
                <a:gd name="T22" fmla="*/ 20 w 101"/>
                <a:gd name="T23" fmla="*/ 23 h 125"/>
                <a:gd name="T24" fmla="*/ 60 w 101"/>
                <a:gd name="T25" fmla="*/ 0 h 125"/>
                <a:gd name="T26" fmla="*/ 91 w 101"/>
                <a:gd name="T27" fmla="*/ 13 h 125"/>
                <a:gd name="T28" fmla="*/ 101 w 101"/>
                <a:gd name="T29" fmla="*/ 50 h 125"/>
                <a:gd name="T30" fmla="*/ 101 w 101"/>
                <a:gd name="T3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1" h="125">
                  <a:moveTo>
                    <a:pt x="101" y="125"/>
                  </a:moveTo>
                  <a:cubicBezTo>
                    <a:pt x="82" y="125"/>
                    <a:pt x="82" y="125"/>
                    <a:pt x="82" y="12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30"/>
                    <a:pt x="72" y="17"/>
                    <a:pt x="53" y="17"/>
                  </a:cubicBezTo>
                  <a:cubicBezTo>
                    <a:pt x="44" y="17"/>
                    <a:pt x="36" y="20"/>
                    <a:pt x="29" y="28"/>
                  </a:cubicBezTo>
                  <a:cubicBezTo>
                    <a:pt x="23" y="35"/>
                    <a:pt x="19" y="44"/>
                    <a:pt x="19" y="55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9" y="8"/>
                    <a:pt x="42" y="0"/>
                    <a:pt x="60" y="0"/>
                  </a:cubicBezTo>
                  <a:cubicBezTo>
                    <a:pt x="73" y="0"/>
                    <a:pt x="84" y="4"/>
                    <a:pt x="91" y="13"/>
                  </a:cubicBezTo>
                  <a:cubicBezTo>
                    <a:pt x="98" y="22"/>
                    <a:pt x="101" y="34"/>
                    <a:pt x="101" y="50"/>
                  </a:cubicBezTo>
                  <a:lnTo>
                    <a:pt x="101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1"/>
            <p:cNvSpPr>
              <a:spLocks noEditPoints="1"/>
            </p:cNvSpPr>
            <p:nvPr userDrawn="1"/>
          </p:nvSpPr>
          <p:spPr bwMode="auto">
            <a:xfrm>
              <a:off x="4598" y="3939"/>
              <a:ext cx="227" cy="302"/>
            </a:xfrm>
            <a:custGeom>
              <a:avLst/>
              <a:gdLst>
                <a:gd name="T0" fmla="*/ 96 w 96"/>
                <a:gd name="T1" fmla="*/ 125 h 128"/>
                <a:gd name="T2" fmla="*/ 77 w 96"/>
                <a:gd name="T3" fmla="*/ 125 h 128"/>
                <a:gd name="T4" fmla="*/ 77 w 96"/>
                <a:gd name="T5" fmla="*/ 106 h 128"/>
                <a:gd name="T6" fmla="*/ 76 w 96"/>
                <a:gd name="T7" fmla="*/ 106 h 128"/>
                <a:gd name="T8" fmla="*/ 39 w 96"/>
                <a:gd name="T9" fmla="*/ 128 h 128"/>
                <a:gd name="T10" fmla="*/ 11 w 96"/>
                <a:gd name="T11" fmla="*/ 118 h 128"/>
                <a:gd name="T12" fmla="*/ 0 w 96"/>
                <a:gd name="T13" fmla="*/ 93 h 128"/>
                <a:gd name="T14" fmla="*/ 40 w 96"/>
                <a:gd name="T15" fmla="*/ 53 h 128"/>
                <a:gd name="T16" fmla="*/ 77 w 96"/>
                <a:gd name="T17" fmla="*/ 48 h 128"/>
                <a:gd name="T18" fmla="*/ 52 w 96"/>
                <a:gd name="T19" fmla="*/ 17 h 128"/>
                <a:gd name="T20" fmla="*/ 12 w 96"/>
                <a:gd name="T21" fmla="*/ 32 h 128"/>
                <a:gd name="T22" fmla="*/ 12 w 96"/>
                <a:gd name="T23" fmla="*/ 12 h 128"/>
                <a:gd name="T24" fmla="*/ 30 w 96"/>
                <a:gd name="T25" fmla="*/ 4 h 128"/>
                <a:gd name="T26" fmla="*/ 53 w 96"/>
                <a:gd name="T27" fmla="*/ 0 h 128"/>
                <a:gd name="T28" fmla="*/ 96 w 96"/>
                <a:gd name="T29" fmla="*/ 46 h 128"/>
                <a:gd name="T30" fmla="*/ 96 w 96"/>
                <a:gd name="T31" fmla="*/ 125 h 128"/>
                <a:gd name="T32" fmla="*/ 77 w 96"/>
                <a:gd name="T33" fmla="*/ 63 h 128"/>
                <a:gd name="T34" fmla="*/ 47 w 96"/>
                <a:gd name="T35" fmla="*/ 68 h 128"/>
                <a:gd name="T36" fmla="*/ 26 w 96"/>
                <a:gd name="T37" fmla="*/ 75 h 128"/>
                <a:gd name="T38" fmla="*/ 20 w 96"/>
                <a:gd name="T39" fmla="*/ 91 h 128"/>
                <a:gd name="T40" fmla="*/ 27 w 96"/>
                <a:gd name="T41" fmla="*/ 106 h 128"/>
                <a:gd name="T42" fmla="*/ 43 w 96"/>
                <a:gd name="T43" fmla="*/ 111 h 128"/>
                <a:gd name="T44" fmla="*/ 67 w 96"/>
                <a:gd name="T45" fmla="*/ 101 h 128"/>
                <a:gd name="T46" fmla="*/ 77 w 96"/>
                <a:gd name="T47" fmla="*/ 76 h 128"/>
                <a:gd name="T48" fmla="*/ 77 w 96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28">
                  <a:moveTo>
                    <a:pt x="96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68" y="121"/>
                    <a:pt x="55" y="128"/>
                    <a:pt x="39" y="128"/>
                  </a:cubicBezTo>
                  <a:cubicBezTo>
                    <a:pt x="27" y="128"/>
                    <a:pt x="18" y="125"/>
                    <a:pt x="11" y="118"/>
                  </a:cubicBezTo>
                  <a:cubicBezTo>
                    <a:pt x="3" y="112"/>
                    <a:pt x="0" y="103"/>
                    <a:pt x="0" y="93"/>
                  </a:cubicBezTo>
                  <a:cubicBezTo>
                    <a:pt x="0" y="70"/>
                    <a:pt x="13" y="57"/>
                    <a:pt x="40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8" y="17"/>
                    <a:pt x="52" y="17"/>
                  </a:cubicBezTo>
                  <a:cubicBezTo>
                    <a:pt x="37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5" y="9"/>
                    <a:pt x="22" y="6"/>
                    <a:pt x="30" y="4"/>
                  </a:cubicBezTo>
                  <a:cubicBezTo>
                    <a:pt x="39" y="1"/>
                    <a:pt x="47" y="0"/>
                    <a:pt x="53" y="0"/>
                  </a:cubicBezTo>
                  <a:cubicBezTo>
                    <a:pt x="82" y="0"/>
                    <a:pt x="96" y="15"/>
                    <a:pt x="96" y="46"/>
                  </a:cubicBezTo>
                  <a:lnTo>
                    <a:pt x="96" y="125"/>
                  </a:lnTo>
                  <a:close/>
                  <a:moveTo>
                    <a:pt x="77" y="63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37" y="69"/>
                    <a:pt x="30" y="71"/>
                    <a:pt x="26" y="75"/>
                  </a:cubicBezTo>
                  <a:cubicBezTo>
                    <a:pt x="22" y="78"/>
                    <a:pt x="20" y="84"/>
                    <a:pt x="20" y="91"/>
                  </a:cubicBezTo>
                  <a:cubicBezTo>
                    <a:pt x="20" y="97"/>
                    <a:pt x="22" y="102"/>
                    <a:pt x="27" y="106"/>
                  </a:cubicBezTo>
                  <a:cubicBezTo>
                    <a:pt x="31" y="110"/>
                    <a:pt x="37" y="111"/>
                    <a:pt x="43" y="111"/>
                  </a:cubicBezTo>
                  <a:cubicBezTo>
                    <a:pt x="53" y="111"/>
                    <a:pt x="61" y="108"/>
                    <a:pt x="67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2"/>
            <p:cNvSpPr>
              <a:spLocks noEditPoints="1"/>
            </p:cNvSpPr>
            <p:nvPr userDrawn="1"/>
          </p:nvSpPr>
          <p:spPr bwMode="auto">
            <a:xfrm>
              <a:off x="4892" y="3806"/>
              <a:ext cx="267" cy="435"/>
            </a:xfrm>
            <a:custGeom>
              <a:avLst/>
              <a:gdLst>
                <a:gd name="T0" fmla="*/ 113 w 113"/>
                <a:gd name="T1" fmla="*/ 181 h 184"/>
                <a:gd name="T2" fmla="*/ 93 w 113"/>
                <a:gd name="T3" fmla="*/ 181 h 184"/>
                <a:gd name="T4" fmla="*/ 93 w 113"/>
                <a:gd name="T5" fmla="*/ 160 h 184"/>
                <a:gd name="T6" fmla="*/ 92 w 113"/>
                <a:gd name="T7" fmla="*/ 160 h 184"/>
                <a:gd name="T8" fmla="*/ 51 w 113"/>
                <a:gd name="T9" fmla="*/ 184 h 184"/>
                <a:gd name="T10" fmla="*/ 14 w 113"/>
                <a:gd name="T11" fmla="*/ 167 h 184"/>
                <a:gd name="T12" fmla="*/ 0 w 113"/>
                <a:gd name="T13" fmla="*/ 123 h 184"/>
                <a:gd name="T14" fmla="*/ 15 w 113"/>
                <a:gd name="T15" fmla="*/ 74 h 184"/>
                <a:gd name="T16" fmla="*/ 56 w 113"/>
                <a:gd name="T17" fmla="*/ 56 h 184"/>
                <a:gd name="T18" fmla="*/ 92 w 113"/>
                <a:gd name="T19" fmla="*/ 76 h 184"/>
                <a:gd name="T20" fmla="*/ 93 w 113"/>
                <a:gd name="T21" fmla="*/ 76 h 184"/>
                <a:gd name="T22" fmla="*/ 93 w 113"/>
                <a:gd name="T23" fmla="*/ 0 h 184"/>
                <a:gd name="T24" fmla="*/ 113 w 113"/>
                <a:gd name="T25" fmla="*/ 0 h 184"/>
                <a:gd name="T26" fmla="*/ 113 w 113"/>
                <a:gd name="T27" fmla="*/ 181 h 184"/>
                <a:gd name="T28" fmla="*/ 93 w 113"/>
                <a:gd name="T29" fmla="*/ 126 h 184"/>
                <a:gd name="T30" fmla="*/ 93 w 113"/>
                <a:gd name="T31" fmla="*/ 108 h 184"/>
                <a:gd name="T32" fmla="*/ 83 w 113"/>
                <a:gd name="T33" fmla="*/ 83 h 184"/>
                <a:gd name="T34" fmla="*/ 58 w 113"/>
                <a:gd name="T35" fmla="*/ 73 h 184"/>
                <a:gd name="T36" fmla="*/ 30 w 113"/>
                <a:gd name="T37" fmla="*/ 86 h 184"/>
                <a:gd name="T38" fmla="*/ 20 w 113"/>
                <a:gd name="T39" fmla="*/ 122 h 184"/>
                <a:gd name="T40" fmla="*/ 30 w 113"/>
                <a:gd name="T41" fmla="*/ 155 h 184"/>
                <a:gd name="T42" fmla="*/ 56 w 113"/>
                <a:gd name="T43" fmla="*/ 167 h 184"/>
                <a:gd name="T44" fmla="*/ 83 w 113"/>
                <a:gd name="T45" fmla="*/ 156 h 184"/>
                <a:gd name="T46" fmla="*/ 93 w 113"/>
                <a:gd name="T47" fmla="*/ 12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84">
                  <a:moveTo>
                    <a:pt x="113" y="181"/>
                  </a:moveTo>
                  <a:cubicBezTo>
                    <a:pt x="93" y="181"/>
                    <a:pt x="93" y="181"/>
                    <a:pt x="93" y="181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83" y="176"/>
                    <a:pt x="69" y="184"/>
                    <a:pt x="51" y="184"/>
                  </a:cubicBezTo>
                  <a:cubicBezTo>
                    <a:pt x="35" y="184"/>
                    <a:pt x="23" y="179"/>
                    <a:pt x="14" y="167"/>
                  </a:cubicBezTo>
                  <a:cubicBezTo>
                    <a:pt x="5" y="156"/>
                    <a:pt x="0" y="142"/>
                    <a:pt x="0" y="123"/>
                  </a:cubicBezTo>
                  <a:cubicBezTo>
                    <a:pt x="0" y="103"/>
                    <a:pt x="5" y="87"/>
                    <a:pt x="15" y="74"/>
                  </a:cubicBezTo>
                  <a:cubicBezTo>
                    <a:pt x="25" y="62"/>
                    <a:pt x="39" y="56"/>
                    <a:pt x="56" y="56"/>
                  </a:cubicBezTo>
                  <a:cubicBezTo>
                    <a:pt x="73" y="56"/>
                    <a:pt x="85" y="63"/>
                    <a:pt x="9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181"/>
                  </a:lnTo>
                  <a:close/>
                  <a:moveTo>
                    <a:pt x="93" y="126"/>
                  </a:moveTo>
                  <a:cubicBezTo>
                    <a:pt x="93" y="108"/>
                    <a:pt x="93" y="108"/>
                    <a:pt x="93" y="108"/>
                  </a:cubicBezTo>
                  <a:cubicBezTo>
                    <a:pt x="93" y="98"/>
                    <a:pt x="90" y="89"/>
                    <a:pt x="83" y="83"/>
                  </a:cubicBezTo>
                  <a:cubicBezTo>
                    <a:pt x="76" y="76"/>
                    <a:pt x="68" y="73"/>
                    <a:pt x="58" y="73"/>
                  </a:cubicBezTo>
                  <a:cubicBezTo>
                    <a:pt x="47" y="73"/>
                    <a:pt x="37" y="77"/>
                    <a:pt x="30" y="86"/>
                  </a:cubicBezTo>
                  <a:cubicBezTo>
                    <a:pt x="23" y="94"/>
                    <a:pt x="20" y="107"/>
                    <a:pt x="20" y="122"/>
                  </a:cubicBezTo>
                  <a:cubicBezTo>
                    <a:pt x="20" y="136"/>
                    <a:pt x="23" y="147"/>
                    <a:pt x="30" y="155"/>
                  </a:cubicBezTo>
                  <a:cubicBezTo>
                    <a:pt x="36" y="163"/>
                    <a:pt x="45" y="167"/>
                    <a:pt x="56" y="167"/>
                  </a:cubicBezTo>
                  <a:cubicBezTo>
                    <a:pt x="67" y="167"/>
                    <a:pt x="76" y="164"/>
                    <a:pt x="83" y="156"/>
                  </a:cubicBezTo>
                  <a:cubicBezTo>
                    <a:pt x="90" y="148"/>
                    <a:pt x="93" y="138"/>
                    <a:pt x="93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3"/>
            <p:cNvSpPr>
              <a:spLocks noEditPoints="1"/>
            </p:cNvSpPr>
            <p:nvPr userDrawn="1"/>
          </p:nvSpPr>
          <p:spPr bwMode="auto">
            <a:xfrm>
              <a:off x="5228" y="3939"/>
              <a:ext cx="229" cy="302"/>
            </a:xfrm>
            <a:custGeom>
              <a:avLst/>
              <a:gdLst>
                <a:gd name="T0" fmla="*/ 97 w 97"/>
                <a:gd name="T1" fmla="*/ 125 h 128"/>
                <a:gd name="T2" fmla="*/ 77 w 97"/>
                <a:gd name="T3" fmla="*/ 125 h 128"/>
                <a:gd name="T4" fmla="*/ 77 w 97"/>
                <a:gd name="T5" fmla="*/ 106 h 128"/>
                <a:gd name="T6" fmla="*/ 77 w 97"/>
                <a:gd name="T7" fmla="*/ 106 h 128"/>
                <a:gd name="T8" fmla="*/ 39 w 97"/>
                <a:gd name="T9" fmla="*/ 128 h 128"/>
                <a:gd name="T10" fmla="*/ 11 w 97"/>
                <a:gd name="T11" fmla="*/ 118 h 128"/>
                <a:gd name="T12" fmla="*/ 0 w 97"/>
                <a:gd name="T13" fmla="*/ 93 h 128"/>
                <a:gd name="T14" fmla="*/ 40 w 97"/>
                <a:gd name="T15" fmla="*/ 53 h 128"/>
                <a:gd name="T16" fmla="*/ 77 w 97"/>
                <a:gd name="T17" fmla="*/ 48 h 128"/>
                <a:gd name="T18" fmla="*/ 52 w 97"/>
                <a:gd name="T19" fmla="*/ 17 h 128"/>
                <a:gd name="T20" fmla="*/ 12 w 97"/>
                <a:gd name="T21" fmla="*/ 32 h 128"/>
                <a:gd name="T22" fmla="*/ 12 w 97"/>
                <a:gd name="T23" fmla="*/ 12 h 128"/>
                <a:gd name="T24" fmla="*/ 30 w 97"/>
                <a:gd name="T25" fmla="*/ 4 h 128"/>
                <a:gd name="T26" fmla="*/ 54 w 97"/>
                <a:gd name="T27" fmla="*/ 0 h 128"/>
                <a:gd name="T28" fmla="*/ 97 w 97"/>
                <a:gd name="T29" fmla="*/ 46 h 128"/>
                <a:gd name="T30" fmla="*/ 97 w 97"/>
                <a:gd name="T31" fmla="*/ 125 h 128"/>
                <a:gd name="T32" fmla="*/ 77 w 97"/>
                <a:gd name="T33" fmla="*/ 63 h 128"/>
                <a:gd name="T34" fmla="*/ 47 w 97"/>
                <a:gd name="T35" fmla="*/ 68 h 128"/>
                <a:gd name="T36" fmla="*/ 26 w 97"/>
                <a:gd name="T37" fmla="*/ 75 h 128"/>
                <a:gd name="T38" fmla="*/ 20 w 97"/>
                <a:gd name="T39" fmla="*/ 91 h 128"/>
                <a:gd name="T40" fmla="*/ 27 w 97"/>
                <a:gd name="T41" fmla="*/ 106 h 128"/>
                <a:gd name="T42" fmla="*/ 44 w 97"/>
                <a:gd name="T43" fmla="*/ 111 h 128"/>
                <a:gd name="T44" fmla="*/ 68 w 97"/>
                <a:gd name="T45" fmla="*/ 101 h 128"/>
                <a:gd name="T46" fmla="*/ 77 w 97"/>
                <a:gd name="T47" fmla="*/ 76 h 128"/>
                <a:gd name="T48" fmla="*/ 77 w 97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7" h="128">
                  <a:moveTo>
                    <a:pt x="97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68" y="121"/>
                    <a:pt x="56" y="128"/>
                    <a:pt x="39" y="128"/>
                  </a:cubicBezTo>
                  <a:cubicBezTo>
                    <a:pt x="27" y="128"/>
                    <a:pt x="18" y="125"/>
                    <a:pt x="11" y="118"/>
                  </a:cubicBezTo>
                  <a:cubicBezTo>
                    <a:pt x="4" y="112"/>
                    <a:pt x="0" y="103"/>
                    <a:pt x="0" y="93"/>
                  </a:cubicBezTo>
                  <a:cubicBezTo>
                    <a:pt x="0" y="70"/>
                    <a:pt x="14" y="57"/>
                    <a:pt x="40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9" y="17"/>
                    <a:pt x="52" y="17"/>
                  </a:cubicBezTo>
                  <a:cubicBezTo>
                    <a:pt x="37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6" y="9"/>
                    <a:pt x="22" y="6"/>
                    <a:pt x="30" y="4"/>
                  </a:cubicBezTo>
                  <a:cubicBezTo>
                    <a:pt x="39" y="1"/>
                    <a:pt x="47" y="0"/>
                    <a:pt x="54" y="0"/>
                  </a:cubicBezTo>
                  <a:cubicBezTo>
                    <a:pt x="82" y="0"/>
                    <a:pt x="97" y="15"/>
                    <a:pt x="97" y="46"/>
                  </a:cubicBezTo>
                  <a:lnTo>
                    <a:pt x="97" y="125"/>
                  </a:lnTo>
                  <a:close/>
                  <a:moveTo>
                    <a:pt x="77" y="63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37" y="69"/>
                    <a:pt x="30" y="71"/>
                    <a:pt x="26" y="75"/>
                  </a:cubicBezTo>
                  <a:cubicBezTo>
                    <a:pt x="22" y="78"/>
                    <a:pt x="20" y="84"/>
                    <a:pt x="20" y="91"/>
                  </a:cubicBezTo>
                  <a:cubicBezTo>
                    <a:pt x="20" y="97"/>
                    <a:pt x="22" y="102"/>
                    <a:pt x="27" y="106"/>
                  </a:cubicBezTo>
                  <a:cubicBezTo>
                    <a:pt x="31" y="110"/>
                    <a:pt x="37" y="111"/>
                    <a:pt x="44" y="111"/>
                  </a:cubicBezTo>
                  <a:cubicBezTo>
                    <a:pt x="53" y="111"/>
                    <a:pt x="61" y="108"/>
                    <a:pt x="68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4"/>
            <p:cNvSpPr>
              <a:spLocks/>
            </p:cNvSpPr>
            <p:nvPr userDrawn="1"/>
          </p:nvSpPr>
          <p:spPr bwMode="auto">
            <a:xfrm>
              <a:off x="1386" y="4610"/>
              <a:ext cx="151" cy="412"/>
            </a:xfrm>
            <a:custGeom>
              <a:avLst/>
              <a:gdLst>
                <a:gd name="T0" fmla="*/ 64 w 64"/>
                <a:gd name="T1" fmla="*/ 110 h 174"/>
                <a:gd name="T2" fmla="*/ 51 w 64"/>
                <a:gd name="T3" fmla="*/ 157 h 174"/>
                <a:gd name="T4" fmla="*/ 16 w 64"/>
                <a:gd name="T5" fmla="*/ 174 h 174"/>
                <a:gd name="T6" fmla="*/ 0 w 64"/>
                <a:gd name="T7" fmla="*/ 171 h 174"/>
                <a:gd name="T8" fmla="*/ 0 w 64"/>
                <a:gd name="T9" fmla="*/ 151 h 174"/>
                <a:gd name="T10" fmla="*/ 17 w 64"/>
                <a:gd name="T11" fmla="*/ 156 h 174"/>
                <a:gd name="T12" fmla="*/ 44 w 64"/>
                <a:gd name="T13" fmla="*/ 110 h 174"/>
                <a:gd name="T14" fmla="*/ 44 w 64"/>
                <a:gd name="T15" fmla="*/ 0 h 174"/>
                <a:gd name="T16" fmla="*/ 64 w 64"/>
                <a:gd name="T17" fmla="*/ 0 h 174"/>
                <a:gd name="T18" fmla="*/ 64 w 64"/>
                <a:gd name="T19" fmla="*/ 11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174">
                  <a:moveTo>
                    <a:pt x="64" y="110"/>
                  </a:moveTo>
                  <a:cubicBezTo>
                    <a:pt x="64" y="129"/>
                    <a:pt x="59" y="145"/>
                    <a:pt x="51" y="157"/>
                  </a:cubicBezTo>
                  <a:cubicBezTo>
                    <a:pt x="43" y="168"/>
                    <a:pt x="31" y="174"/>
                    <a:pt x="16" y="174"/>
                  </a:cubicBezTo>
                  <a:cubicBezTo>
                    <a:pt x="10" y="174"/>
                    <a:pt x="4" y="173"/>
                    <a:pt x="0" y="17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4" y="154"/>
                    <a:pt x="10" y="156"/>
                    <a:pt x="17" y="156"/>
                  </a:cubicBezTo>
                  <a:cubicBezTo>
                    <a:pt x="35" y="156"/>
                    <a:pt x="44" y="140"/>
                    <a:pt x="44" y="11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6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5"/>
            <p:cNvSpPr>
              <a:spLocks/>
            </p:cNvSpPr>
            <p:nvPr userDrawn="1"/>
          </p:nvSpPr>
          <p:spPr bwMode="auto">
            <a:xfrm>
              <a:off x="1627" y="4726"/>
              <a:ext cx="239" cy="296"/>
            </a:xfrm>
            <a:custGeom>
              <a:avLst/>
              <a:gdLst>
                <a:gd name="T0" fmla="*/ 101 w 101"/>
                <a:gd name="T1" fmla="*/ 122 h 125"/>
                <a:gd name="T2" fmla="*/ 82 w 101"/>
                <a:gd name="T3" fmla="*/ 122 h 125"/>
                <a:gd name="T4" fmla="*/ 82 w 101"/>
                <a:gd name="T5" fmla="*/ 103 h 125"/>
                <a:gd name="T6" fmla="*/ 81 w 101"/>
                <a:gd name="T7" fmla="*/ 103 h 125"/>
                <a:gd name="T8" fmla="*/ 43 w 101"/>
                <a:gd name="T9" fmla="*/ 125 h 125"/>
                <a:gd name="T10" fmla="*/ 0 w 101"/>
                <a:gd name="T11" fmla="*/ 73 h 125"/>
                <a:gd name="T12" fmla="*/ 0 w 101"/>
                <a:gd name="T13" fmla="*/ 0 h 125"/>
                <a:gd name="T14" fmla="*/ 19 w 101"/>
                <a:gd name="T15" fmla="*/ 0 h 125"/>
                <a:gd name="T16" fmla="*/ 19 w 101"/>
                <a:gd name="T17" fmla="*/ 70 h 125"/>
                <a:gd name="T18" fmla="*/ 49 w 101"/>
                <a:gd name="T19" fmla="*/ 108 h 125"/>
                <a:gd name="T20" fmla="*/ 72 w 101"/>
                <a:gd name="T21" fmla="*/ 98 h 125"/>
                <a:gd name="T22" fmla="*/ 82 w 101"/>
                <a:gd name="T23" fmla="*/ 70 h 125"/>
                <a:gd name="T24" fmla="*/ 82 w 101"/>
                <a:gd name="T25" fmla="*/ 0 h 125"/>
                <a:gd name="T26" fmla="*/ 101 w 101"/>
                <a:gd name="T27" fmla="*/ 0 h 125"/>
                <a:gd name="T28" fmla="*/ 101 w 101"/>
                <a:gd name="T29" fmla="*/ 12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5">
                  <a:moveTo>
                    <a:pt x="101" y="122"/>
                  </a:moveTo>
                  <a:cubicBezTo>
                    <a:pt x="82" y="122"/>
                    <a:pt x="82" y="122"/>
                    <a:pt x="82" y="122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73" y="117"/>
                    <a:pt x="60" y="125"/>
                    <a:pt x="43" y="125"/>
                  </a:cubicBezTo>
                  <a:cubicBezTo>
                    <a:pt x="14" y="125"/>
                    <a:pt x="0" y="108"/>
                    <a:pt x="0" y="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95"/>
                    <a:pt x="29" y="108"/>
                    <a:pt x="49" y="108"/>
                  </a:cubicBezTo>
                  <a:cubicBezTo>
                    <a:pt x="59" y="108"/>
                    <a:pt x="66" y="105"/>
                    <a:pt x="72" y="98"/>
                  </a:cubicBezTo>
                  <a:cubicBezTo>
                    <a:pt x="78" y="91"/>
                    <a:pt x="82" y="81"/>
                    <a:pt x="82" y="7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Rectangle 56"/>
            <p:cNvSpPr>
              <a:spLocks noChangeArrowheads="1"/>
            </p:cNvSpPr>
            <p:nvPr userDrawn="1"/>
          </p:nvSpPr>
          <p:spPr bwMode="auto">
            <a:xfrm>
              <a:off x="1961" y="4587"/>
              <a:ext cx="45" cy="4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57"/>
            <p:cNvSpPr>
              <a:spLocks/>
            </p:cNvSpPr>
            <p:nvPr userDrawn="1"/>
          </p:nvSpPr>
          <p:spPr bwMode="auto">
            <a:xfrm>
              <a:off x="2058" y="4726"/>
              <a:ext cx="272" cy="423"/>
            </a:xfrm>
            <a:custGeom>
              <a:avLst/>
              <a:gdLst>
                <a:gd name="T0" fmla="*/ 115 w 115"/>
                <a:gd name="T1" fmla="*/ 0 h 179"/>
                <a:gd name="T2" fmla="*/ 59 w 115"/>
                <a:gd name="T3" fmla="*/ 141 h 179"/>
                <a:gd name="T4" fmla="*/ 17 w 115"/>
                <a:gd name="T5" fmla="*/ 179 h 179"/>
                <a:gd name="T6" fmla="*/ 4 w 115"/>
                <a:gd name="T7" fmla="*/ 178 h 179"/>
                <a:gd name="T8" fmla="*/ 4 w 115"/>
                <a:gd name="T9" fmla="*/ 160 h 179"/>
                <a:gd name="T10" fmla="*/ 15 w 115"/>
                <a:gd name="T11" fmla="*/ 162 h 179"/>
                <a:gd name="T12" fmla="*/ 38 w 115"/>
                <a:gd name="T13" fmla="*/ 145 h 179"/>
                <a:gd name="T14" fmla="*/ 47 w 115"/>
                <a:gd name="T15" fmla="*/ 122 h 179"/>
                <a:gd name="T16" fmla="*/ 0 w 115"/>
                <a:gd name="T17" fmla="*/ 0 h 179"/>
                <a:gd name="T18" fmla="*/ 21 w 115"/>
                <a:gd name="T19" fmla="*/ 0 h 179"/>
                <a:gd name="T20" fmla="*/ 54 w 115"/>
                <a:gd name="T21" fmla="*/ 94 h 179"/>
                <a:gd name="T22" fmla="*/ 57 w 115"/>
                <a:gd name="T23" fmla="*/ 103 h 179"/>
                <a:gd name="T24" fmla="*/ 58 w 115"/>
                <a:gd name="T25" fmla="*/ 103 h 179"/>
                <a:gd name="T26" fmla="*/ 60 w 115"/>
                <a:gd name="T27" fmla="*/ 94 h 179"/>
                <a:gd name="T28" fmla="*/ 95 w 115"/>
                <a:gd name="T29" fmla="*/ 0 h 179"/>
                <a:gd name="T30" fmla="*/ 115 w 115"/>
                <a:gd name="T3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179">
                  <a:moveTo>
                    <a:pt x="115" y="0"/>
                  </a:moveTo>
                  <a:cubicBezTo>
                    <a:pt x="59" y="141"/>
                    <a:pt x="59" y="141"/>
                    <a:pt x="59" y="141"/>
                  </a:cubicBezTo>
                  <a:cubicBezTo>
                    <a:pt x="49" y="167"/>
                    <a:pt x="35" y="179"/>
                    <a:pt x="17" y="179"/>
                  </a:cubicBezTo>
                  <a:cubicBezTo>
                    <a:pt x="11" y="179"/>
                    <a:pt x="7" y="179"/>
                    <a:pt x="4" y="178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8" y="162"/>
                    <a:pt x="12" y="162"/>
                    <a:pt x="15" y="162"/>
                  </a:cubicBezTo>
                  <a:cubicBezTo>
                    <a:pt x="25" y="162"/>
                    <a:pt x="33" y="157"/>
                    <a:pt x="38" y="145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8" y="101"/>
                    <a:pt x="59" y="98"/>
                    <a:pt x="60" y="94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1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auto">
            <a:xfrm>
              <a:off x="2469" y="4601"/>
              <a:ext cx="140" cy="414"/>
            </a:xfrm>
            <a:custGeom>
              <a:avLst/>
              <a:gdLst>
                <a:gd name="T0" fmla="*/ 40 w 59"/>
                <a:gd name="T1" fmla="*/ 175 h 175"/>
                <a:gd name="T2" fmla="*/ 40 w 59"/>
                <a:gd name="T3" fmla="*/ 27 h 175"/>
                <a:gd name="T4" fmla="*/ 22 w 59"/>
                <a:gd name="T5" fmla="*/ 39 h 175"/>
                <a:gd name="T6" fmla="*/ 0 w 59"/>
                <a:gd name="T7" fmla="*/ 47 h 175"/>
                <a:gd name="T8" fmla="*/ 0 w 59"/>
                <a:gd name="T9" fmla="*/ 28 h 175"/>
                <a:gd name="T10" fmla="*/ 28 w 59"/>
                <a:gd name="T11" fmla="*/ 16 h 175"/>
                <a:gd name="T12" fmla="*/ 52 w 59"/>
                <a:gd name="T13" fmla="*/ 0 h 175"/>
                <a:gd name="T14" fmla="*/ 59 w 59"/>
                <a:gd name="T15" fmla="*/ 0 h 175"/>
                <a:gd name="T16" fmla="*/ 59 w 59"/>
                <a:gd name="T17" fmla="*/ 175 h 175"/>
                <a:gd name="T18" fmla="*/ 40 w 59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6" y="31"/>
                    <a:pt x="30" y="34"/>
                    <a:pt x="22" y="39"/>
                  </a:cubicBezTo>
                  <a:cubicBezTo>
                    <a:pt x="14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75"/>
                    <a:pt x="59" y="175"/>
                    <a:pt x="59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7" name="Freeform 59"/>
            <p:cNvSpPr>
              <a:spLocks noEditPoints="1"/>
            </p:cNvSpPr>
            <p:nvPr userDrawn="1"/>
          </p:nvSpPr>
          <p:spPr bwMode="auto">
            <a:xfrm>
              <a:off x="2696" y="4603"/>
              <a:ext cx="263" cy="419"/>
            </a:xfrm>
            <a:custGeom>
              <a:avLst/>
              <a:gdLst>
                <a:gd name="T0" fmla="*/ 111 w 111"/>
                <a:gd name="T1" fmla="*/ 88 h 177"/>
                <a:gd name="T2" fmla="*/ 96 w 111"/>
                <a:gd name="T3" fmla="*/ 153 h 177"/>
                <a:gd name="T4" fmla="*/ 54 w 111"/>
                <a:gd name="T5" fmla="*/ 177 h 177"/>
                <a:gd name="T6" fmla="*/ 14 w 111"/>
                <a:gd name="T7" fmla="*/ 155 h 177"/>
                <a:gd name="T8" fmla="*/ 0 w 111"/>
                <a:gd name="T9" fmla="*/ 92 h 177"/>
                <a:gd name="T10" fmla="*/ 14 w 111"/>
                <a:gd name="T11" fmla="*/ 24 h 177"/>
                <a:gd name="T12" fmla="*/ 57 w 111"/>
                <a:gd name="T13" fmla="*/ 0 h 177"/>
                <a:gd name="T14" fmla="*/ 111 w 111"/>
                <a:gd name="T15" fmla="*/ 88 h 177"/>
                <a:gd name="T16" fmla="*/ 91 w 111"/>
                <a:gd name="T17" fmla="*/ 90 h 177"/>
                <a:gd name="T18" fmla="*/ 56 w 111"/>
                <a:gd name="T19" fmla="*/ 17 h 177"/>
                <a:gd name="T20" fmla="*/ 20 w 111"/>
                <a:gd name="T21" fmla="*/ 91 h 177"/>
                <a:gd name="T22" fmla="*/ 55 w 111"/>
                <a:gd name="T23" fmla="*/ 160 h 177"/>
                <a:gd name="T24" fmla="*/ 91 w 111"/>
                <a:gd name="T25" fmla="*/ 9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1" h="177">
                  <a:moveTo>
                    <a:pt x="111" y="88"/>
                  </a:moveTo>
                  <a:cubicBezTo>
                    <a:pt x="111" y="116"/>
                    <a:pt x="106" y="138"/>
                    <a:pt x="96" y="153"/>
                  </a:cubicBezTo>
                  <a:cubicBezTo>
                    <a:pt x="86" y="169"/>
                    <a:pt x="72" y="177"/>
                    <a:pt x="54" y="177"/>
                  </a:cubicBezTo>
                  <a:cubicBezTo>
                    <a:pt x="36" y="177"/>
                    <a:pt x="23" y="170"/>
                    <a:pt x="14" y="155"/>
                  </a:cubicBezTo>
                  <a:cubicBezTo>
                    <a:pt x="4" y="140"/>
                    <a:pt x="0" y="119"/>
                    <a:pt x="0" y="92"/>
                  </a:cubicBezTo>
                  <a:cubicBezTo>
                    <a:pt x="0" y="62"/>
                    <a:pt x="4" y="39"/>
                    <a:pt x="14" y="24"/>
                  </a:cubicBezTo>
                  <a:cubicBezTo>
                    <a:pt x="24" y="8"/>
                    <a:pt x="38" y="0"/>
                    <a:pt x="57" y="0"/>
                  </a:cubicBezTo>
                  <a:cubicBezTo>
                    <a:pt x="93" y="0"/>
                    <a:pt x="111" y="29"/>
                    <a:pt x="111" y="88"/>
                  </a:cubicBezTo>
                  <a:close/>
                  <a:moveTo>
                    <a:pt x="91" y="90"/>
                  </a:moveTo>
                  <a:cubicBezTo>
                    <a:pt x="91" y="41"/>
                    <a:pt x="79" y="17"/>
                    <a:pt x="56" y="17"/>
                  </a:cubicBezTo>
                  <a:cubicBezTo>
                    <a:pt x="32" y="17"/>
                    <a:pt x="20" y="41"/>
                    <a:pt x="20" y="91"/>
                  </a:cubicBezTo>
                  <a:cubicBezTo>
                    <a:pt x="20" y="137"/>
                    <a:pt x="32" y="160"/>
                    <a:pt x="55" y="160"/>
                  </a:cubicBezTo>
                  <a:cubicBezTo>
                    <a:pt x="79" y="160"/>
                    <a:pt x="91" y="137"/>
                    <a:pt x="91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8" name="Rectangle 60"/>
            <p:cNvSpPr>
              <a:spLocks noChangeArrowheads="1"/>
            </p:cNvSpPr>
            <p:nvPr userDrawn="1"/>
          </p:nvSpPr>
          <p:spPr bwMode="auto">
            <a:xfrm>
              <a:off x="3030" y="4835"/>
              <a:ext cx="154" cy="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auto">
            <a:xfrm>
              <a:off x="3236" y="4601"/>
              <a:ext cx="142" cy="414"/>
            </a:xfrm>
            <a:custGeom>
              <a:avLst/>
              <a:gdLst>
                <a:gd name="T0" fmla="*/ 40 w 60"/>
                <a:gd name="T1" fmla="*/ 175 h 175"/>
                <a:gd name="T2" fmla="*/ 40 w 60"/>
                <a:gd name="T3" fmla="*/ 27 h 175"/>
                <a:gd name="T4" fmla="*/ 23 w 60"/>
                <a:gd name="T5" fmla="*/ 39 h 175"/>
                <a:gd name="T6" fmla="*/ 0 w 60"/>
                <a:gd name="T7" fmla="*/ 47 h 175"/>
                <a:gd name="T8" fmla="*/ 0 w 60"/>
                <a:gd name="T9" fmla="*/ 28 h 175"/>
                <a:gd name="T10" fmla="*/ 28 w 60"/>
                <a:gd name="T11" fmla="*/ 16 h 175"/>
                <a:gd name="T12" fmla="*/ 52 w 60"/>
                <a:gd name="T13" fmla="*/ 0 h 175"/>
                <a:gd name="T14" fmla="*/ 60 w 60"/>
                <a:gd name="T15" fmla="*/ 0 h 175"/>
                <a:gd name="T16" fmla="*/ 60 w 60"/>
                <a:gd name="T17" fmla="*/ 175 h 175"/>
                <a:gd name="T18" fmla="*/ 40 w 60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7" y="31"/>
                    <a:pt x="31" y="34"/>
                    <a:pt x="23" y="39"/>
                  </a:cubicBezTo>
                  <a:cubicBezTo>
                    <a:pt x="14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75"/>
                    <a:pt x="60" y="175"/>
                    <a:pt x="60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auto">
            <a:xfrm>
              <a:off x="3453" y="4610"/>
              <a:ext cx="298" cy="405"/>
            </a:xfrm>
            <a:custGeom>
              <a:avLst/>
              <a:gdLst>
                <a:gd name="T0" fmla="*/ 99 w 126"/>
                <a:gd name="T1" fmla="*/ 0 h 171"/>
                <a:gd name="T2" fmla="*/ 99 w 126"/>
                <a:gd name="T3" fmla="*/ 113 h 171"/>
                <a:gd name="T4" fmla="*/ 126 w 126"/>
                <a:gd name="T5" fmla="*/ 113 h 171"/>
                <a:gd name="T6" fmla="*/ 126 w 126"/>
                <a:gd name="T7" fmla="*/ 131 h 171"/>
                <a:gd name="T8" fmla="*/ 99 w 126"/>
                <a:gd name="T9" fmla="*/ 131 h 171"/>
                <a:gd name="T10" fmla="*/ 99 w 126"/>
                <a:gd name="T11" fmla="*/ 171 h 171"/>
                <a:gd name="T12" fmla="*/ 80 w 126"/>
                <a:gd name="T13" fmla="*/ 171 h 171"/>
                <a:gd name="T14" fmla="*/ 80 w 126"/>
                <a:gd name="T15" fmla="*/ 131 h 171"/>
                <a:gd name="T16" fmla="*/ 0 w 126"/>
                <a:gd name="T17" fmla="*/ 131 h 171"/>
                <a:gd name="T18" fmla="*/ 0 w 126"/>
                <a:gd name="T19" fmla="*/ 114 h 171"/>
                <a:gd name="T20" fmla="*/ 46 w 126"/>
                <a:gd name="T21" fmla="*/ 55 h 171"/>
                <a:gd name="T22" fmla="*/ 78 w 126"/>
                <a:gd name="T23" fmla="*/ 0 h 171"/>
                <a:gd name="T24" fmla="*/ 99 w 126"/>
                <a:gd name="T25" fmla="*/ 0 h 171"/>
                <a:gd name="T26" fmla="*/ 22 w 126"/>
                <a:gd name="T27" fmla="*/ 113 h 171"/>
                <a:gd name="T28" fmla="*/ 80 w 126"/>
                <a:gd name="T29" fmla="*/ 113 h 171"/>
                <a:gd name="T30" fmla="*/ 80 w 126"/>
                <a:gd name="T31" fmla="*/ 29 h 171"/>
                <a:gd name="T32" fmla="*/ 34 w 126"/>
                <a:gd name="T33" fmla="*/ 97 h 171"/>
                <a:gd name="T34" fmla="*/ 22 w 126"/>
                <a:gd name="T35" fmla="*/ 11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6" h="171">
                  <a:moveTo>
                    <a:pt x="99" y="0"/>
                  </a:moveTo>
                  <a:cubicBezTo>
                    <a:pt x="99" y="113"/>
                    <a:pt x="99" y="113"/>
                    <a:pt x="99" y="113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6" y="131"/>
                    <a:pt x="126" y="131"/>
                    <a:pt x="126" y="131"/>
                  </a:cubicBezTo>
                  <a:cubicBezTo>
                    <a:pt x="99" y="131"/>
                    <a:pt x="99" y="131"/>
                    <a:pt x="99" y="13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31"/>
                    <a:pt x="80" y="131"/>
                    <a:pt x="80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17" y="95"/>
                    <a:pt x="32" y="75"/>
                    <a:pt x="46" y="55"/>
                  </a:cubicBezTo>
                  <a:cubicBezTo>
                    <a:pt x="60" y="34"/>
                    <a:pt x="71" y="16"/>
                    <a:pt x="78" y="0"/>
                  </a:cubicBezTo>
                  <a:lnTo>
                    <a:pt x="99" y="0"/>
                  </a:lnTo>
                  <a:close/>
                  <a:moveTo>
                    <a:pt x="22" y="113"/>
                  </a:moveTo>
                  <a:cubicBezTo>
                    <a:pt x="80" y="113"/>
                    <a:pt x="80" y="113"/>
                    <a:pt x="80" y="11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65" y="56"/>
                    <a:pt x="50" y="78"/>
                    <a:pt x="34" y="97"/>
                  </a:cubicBezTo>
                  <a:lnTo>
                    <a:pt x="2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3"/>
            <p:cNvSpPr>
              <a:spLocks/>
            </p:cNvSpPr>
            <p:nvPr userDrawn="1"/>
          </p:nvSpPr>
          <p:spPr bwMode="auto">
            <a:xfrm>
              <a:off x="3773" y="4951"/>
              <a:ext cx="78" cy="137"/>
            </a:xfrm>
            <a:custGeom>
              <a:avLst/>
              <a:gdLst>
                <a:gd name="T0" fmla="*/ 78 w 78"/>
                <a:gd name="T1" fmla="*/ 0 h 137"/>
                <a:gd name="T2" fmla="*/ 33 w 78"/>
                <a:gd name="T3" fmla="*/ 137 h 137"/>
                <a:gd name="T4" fmla="*/ 0 w 78"/>
                <a:gd name="T5" fmla="*/ 137 h 137"/>
                <a:gd name="T6" fmla="*/ 33 w 78"/>
                <a:gd name="T7" fmla="*/ 0 h 137"/>
                <a:gd name="T8" fmla="*/ 78 w 78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37">
                  <a:moveTo>
                    <a:pt x="78" y="0"/>
                  </a:moveTo>
                  <a:lnTo>
                    <a:pt x="33" y="137"/>
                  </a:lnTo>
                  <a:lnTo>
                    <a:pt x="0" y="137"/>
                  </a:lnTo>
                  <a:lnTo>
                    <a:pt x="33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auto">
            <a:xfrm>
              <a:off x="4052" y="4603"/>
              <a:ext cx="251" cy="412"/>
            </a:xfrm>
            <a:custGeom>
              <a:avLst/>
              <a:gdLst>
                <a:gd name="T0" fmla="*/ 79 w 106"/>
                <a:gd name="T1" fmla="*/ 48 h 174"/>
                <a:gd name="T2" fmla="*/ 71 w 106"/>
                <a:gd name="T3" fmla="*/ 25 h 174"/>
                <a:gd name="T4" fmla="*/ 48 w 106"/>
                <a:gd name="T5" fmla="*/ 17 h 174"/>
                <a:gd name="T6" fmla="*/ 27 w 106"/>
                <a:gd name="T7" fmla="*/ 22 h 174"/>
                <a:gd name="T8" fmla="*/ 7 w 106"/>
                <a:gd name="T9" fmla="*/ 38 h 174"/>
                <a:gd name="T10" fmla="*/ 7 w 106"/>
                <a:gd name="T11" fmla="*/ 17 h 174"/>
                <a:gd name="T12" fmla="*/ 25 w 106"/>
                <a:gd name="T13" fmla="*/ 4 h 174"/>
                <a:gd name="T14" fmla="*/ 50 w 106"/>
                <a:gd name="T15" fmla="*/ 0 h 174"/>
                <a:gd name="T16" fmla="*/ 86 w 106"/>
                <a:gd name="T17" fmla="*/ 13 h 174"/>
                <a:gd name="T18" fmla="*/ 99 w 106"/>
                <a:gd name="T19" fmla="*/ 46 h 174"/>
                <a:gd name="T20" fmla="*/ 91 w 106"/>
                <a:gd name="T21" fmla="*/ 78 h 174"/>
                <a:gd name="T22" fmla="*/ 61 w 106"/>
                <a:gd name="T23" fmla="*/ 108 h 174"/>
                <a:gd name="T24" fmla="*/ 33 w 106"/>
                <a:gd name="T25" fmla="*/ 129 h 174"/>
                <a:gd name="T26" fmla="*/ 24 w 106"/>
                <a:gd name="T27" fmla="*/ 142 h 174"/>
                <a:gd name="T28" fmla="*/ 21 w 106"/>
                <a:gd name="T29" fmla="*/ 156 h 174"/>
                <a:gd name="T30" fmla="*/ 106 w 106"/>
                <a:gd name="T31" fmla="*/ 156 h 174"/>
                <a:gd name="T32" fmla="*/ 106 w 106"/>
                <a:gd name="T33" fmla="*/ 174 h 174"/>
                <a:gd name="T34" fmla="*/ 0 w 106"/>
                <a:gd name="T35" fmla="*/ 174 h 174"/>
                <a:gd name="T36" fmla="*/ 0 w 106"/>
                <a:gd name="T37" fmla="*/ 165 h 174"/>
                <a:gd name="T38" fmla="*/ 4 w 106"/>
                <a:gd name="T39" fmla="*/ 142 h 174"/>
                <a:gd name="T40" fmla="*/ 16 w 106"/>
                <a:gd name="T41" fmla="*/ 124 h 174"/>
                <a:gd name="T42" fmla="*/ 47 w 106"/>
                <a:gd name="T43" fmla="*/ 98 h 174"/>
                <a:gd name="T44" fmla="*/ 72 w 106"/>
                <a:gd name="T45" fmla="*/ 74 h 174"/>
                <a:gd name="T46" fmla="*/ 79 w 106"/>
                <a:gd name="T47" fmla="*/ 4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174">
                  <a:moveTo>
                    <a:pt x="79" y="48"/>
                  </a:moveTo>
                  <a:cubicBezTo>
                    <a:pt x="79" y="38"/>
                    <a:pt x="77" y="31"/>
                    <a:pt x="71" y="25"/>
                  </a:cubicBezTo>
                  <a:cubicBezTo>
                    <a:pt x="65" y="19"/>
                    <a:pt x="58" y="17"/>
                    <a:pt x="48" y="17"/>
                  </a:cubicBezTo>
                  <a:cubicBezTo>
                    <a:pt x="41" y="17"/>
                    <a:pt x="34" y="19"/>
                    <a:pt x="27" y="22"/>
                  </a:cubicBezTo>
                  <a:cubicBezTo>
                    <a:pt x="19" y="26"/>
                    <a:pt x="13" y="31"/>
                    <a:pt x="7" y="3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3" y="11"/>
                    <a:pt x="19" y="7"/>
                    <a:pt x="25" y="4"/>
                  </a:cubicBezTo>
                  <a:cubicBezTo>
                    <a:pt x="32" y="2"/>
                    <a:pt x="41" y="0"/>
                    <a:pt x="50" y="0"/>
                  </a:cubicBezTo>
                  <a:cubicBezTo>
                    <a:pt x="65" y="0"/>
                    <a:pt x="77" y="4"/>
                    <a:pt x="86" y="13"/>
                  </a:cubicBezTo>
                  <a:cubicBezTo>
                    <a:pt x="95" y="21"/>
                    <a:pt x="99" y="32"/>
                    <a:pt x="99" y="46"/>
                  </a:cubicBezTo>
                  <a:cubicBezTo>
                    <a:pt x="99" y="58"/>
                    <a:pt x="97" y="69"/>
                    <a:pt x="91" y="78"/>
                  </a:cubicBezTo>
                  <a:cubicBezTo>
                    <a:pt x="85" y="88"/>
                    <a:pt x="75" y="97"/>
                    <a:pt x="61" y="108"/>
                  </a:cubicBezTo>
                  <a:cubicBezTo>
                    <a:pt x="47" y="118"/>
                    <a:pt x="38" y="125"/>
                    <a:pt x="33" y="129"/>
                  </a:cubicBezTo>
                  <a:cubicBezTo>
                    <a:pt x="29" y="133"/>
                    <a:pt x="25" y="138"/>
                    <a:pt x="24" y="142"/>
                  </a:cubicBezTo>
                  <a:cubicBezTo>
                    <a:pt x="22" y="146"/>
                    <a:pt x="21" y="151"/>
                    <a:pt x="21" y="156"/>
                  </a:cubicBezTo>
                  <a:cubicBezTo>
                    <a:pt x="106" y="156"/>
                    <a:pt x="106" y="156"/>
                    <a:pt x="106" y="156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56"/>
                    <a:pt x="2" y="149"/>
                    <a:pt x="4" y="142"/>
                  </a:cubicBezTo>
                  <a:cubicBezTo>
                    <a:pt x="6" y="136"/>
                    <a:pt x="10" y="130"/>
                    <a:pt x="16" y="124"/>
                  </a:cubicBezTo>
                  <a:cubicBezTo>
                    <a:pt x="22" y="118"/>
                    <a:pt x="32" y="109"/>
                    <a:pt x="47" y="98"/>
                  </a:cubicBezTo>
                  <a:cubicBezTo>
                    <a:pt x="59" y="90"/>
                    <a:pt x="67" y="82"/>
                    <a:pt x="72" y="74"/>
                  </a:cubicBezTo>
                  <a:cubicBezTo>
                    <a:pt x="77" y="66"/>
                    <a:pt x="79" y="5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5"/>
            <p:cNvSpPr>
              <a:spLocks noEditPoints="1"/>
            </p:cNvSpPr>
            <p:nvPr userDrawn="1"/>
          </p:nvSpPr>
          <p:spPr bwMode="auto">
            <a:xfrm>
              <a:off x="4357" y="4603"/>
              <a:ext cx="265" cy="419"/>
            </a:xfrm>
            <a:custGeom>
              <a:avLst/>
              <a:gdLst>
                <a:gd name="T0" fmla="*/ 112 w 112"/>
                <a:gd name="T1" fmla="*/ 88 h 177"/>
                <a:gd name="T2" fmla="*/ 97 w 112"/>
                <a:gd name="T3" fmla="*/ 153 h 177"/>
                <a:gd name="T4" fmla="*/ 54 w 112"/>
                <a:gd name="T5" fmla="*/ 177 h 177"/>
                <a:gd name="T6" fmla="*/ 14 w 112"/>
                <a:gd name="T7" fmla="*/ 155 h 177"/>
                <a:gd name="T8" fmla="*/ 0 w 112"/>
                <a:gd name="T9" fmla="*/ 92 h 177"/>
                <a:gd name="T10" fmla="*/ 15 w 112"/>
                <a:gd name="T11" fmla="*/ 24 h 177"/>
                <a:gd name="T12" fmla="*/ 58 w 112"/>
                <a:gd name="T13" fmla="*/ 0 h 177"/>
                <a:gd name="T14" fmla="*/ 112 w 112"/>
                <a:gd name="T15" fmla="*/ 88 h 177"/>
                <a:gd name="T16" fmla="*/ 92 w 112"/>
                <a:gd name="T17" fmla="*/ 90 h 177"/>
                <a:gd name="T18" fmla="*/ 57 w 112"/>
                <a:gd name="T19" fmla="*/ 17 h 177"/>
                <a:gd name="T20" fmla="*/ 20 w 112"/>
                <a:gd name="T21" fmla="*/ 91 h 177"/>
                <a:gd name="T22" fmla="*/ 56 w 112"/>
                <a:gd name="T23" fmla="*/ 160 h 177"/>
                <a:gd name="T24" fmla="*/ 92 w 112"/>
                <a:gd name="T25" fmla="*/ 9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177">
                  <a:moveTo>
                    <a:pt x="112" y="88"/>
                  </a:moveTo>
                  <a:cubicBezTo>
                    <a:pt x="112" y="116"/>
                    <a:pt x="107" y="138"/>
                    <a:pt x="97" y="153"/>
                  </a:cubicBezTo>
                  <a:cubicBezTo>
                    <a:pt x="87" y="169"/>
                    <a:pt x="73" y="177"/>
                    <a:pt x="54" y="177"/>
                  </a:cubicBezTo>
                  <a:cubicBezTo>
                    <a:pt x="37" y="177"/>
                    <a:pt x="24" y="170"/>
                    <a:pt x="14" y="155"/>
                  </a:cubicBezTo>
                  <a:cubicBezTo>
                    <a:pt x="5" y="140"/>
                    <a:pt x="0" y="119"/>
                    <a:pt x="0" y="92"/>
                  </a:cubicBezTo>
                  <a:cubicBezTo>
                    <a:pt x="0" y="62"/>
                    <a:pt x="5" y="39"/>
                    <a:pt x="15" y="24"/>
                  </a:cubicBezTo>
                  <a:cubicBezTo>
                    <a:pt x="25" y="8"/>
                    <a:pt x="39" y="0"/>
                    <a:pt x="58" y="0"/>
                  </a:cubicBezTo>
                  <a:cubicBezTo>
                    <a:pt x="94" y="0"/>
                    <a:pt x="112" y="29"/>
                    <a:pt x="112" y="88"/>
                  </a:cubicBezTo>
                  <a:close/>
                  <a:moveTo>
                    <a:pt x="92" y="90"/>
                  </a:moveTo>
                  <a:cubicBezTo>
                    <a:pt x="92" y="41"/>
                    <a:pt x="80" y="17"/>
                    <a:pt x="57" y="17"/>
                  </a:cubicBezTo>
                  <a:cubicBezTo>
                    <a:pt x="32" y="17"/>
                    <a:pt x="20" y="41"/>
                    <a:pt x="20" y="91"/>
                  </a:cubicBezTo>
                  <a:cubicBezTo>
                    <a:pt x="20" y="137"/>
                    <a:pt x="32" y="160"/>
                    <a:pt x="56" y="160"/>
                  </a:cubicBezTo>
                  <a:cubicBezTo>
                    <a:pt x="80" y="160"/>
                    <a:pt x="92" y="137"/>
                    <a:pt x="92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66"/>
            <p:cNvSpPr>
              <a:spLocks/>
            </p:cNvSpPr>
            <p:nvPr userDrawn="1"/>
          </p:nvSpPr>
          <p:spPr bwMode="auto">
            <a:xfrm>
              <a:off x="4667" y="4601"/>
              <a:ext cx="142" cy="414"/>
            </a:xfrm>
            <a:custGeom>
              <a:avLst/>
              <a:gdLst>
                <a:gd name="T0" fmla="*/ 40 w 60"/>
                <a:gd name="T1" fmla="*/ 175 h 175"/>
                <a:gd name="T2" fmla="*/ 40 w 60"/>
                <a:gd name="T3" fmla="*/ 27 h 175"/>
                <a:gd name="T4" fmla="*/ 23 w 60"/>
                <a:gd name="T5" fmla="*/ 39 h 175"/>
                <a:gd name="T6" fmla="*/ 0 w 60"/>
                <a:gd name="T7" fmla="*/ 47 h 175"/>
                <a:gd name="T8" fmla="*/ 0 w 60"/>
                <a:gd name="T9" fmla="*/ 28 h 175"/>
                <a:gd name="T10" fmla="*/ 28 w 60"/>
                <a:gd name="T11" fmla="*/ 16 h 175"/>
                <a:gd name="T12" fmla="*/ 52 w 60"/>
                <a:gd name="T13" fmla="*/ 0 h 175"/>
                <a:gd name="T14" fmla="*/ 60 w 60"/>
                <a:gd name="T15" fmla="*/ 0 h 175"/>
                <a:gd name="T16" fmla="*/ 60 w 60"/>
                <a:gd name="T17" fmla="*/ 175 h 175"/>
                <a:gd name="T18" fmla="*/ 40 w 60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7" y="31"/>
                    <a:pt x="31" y="34"/>
                    <a:pt x="23" y="39"/>
                  </a:cubicBezTo>
                  <a:cubicBezTo>
                    <a:pt x="15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75"/>
                    <a:pt x="60" y="175"/>
                    <a:pt x="60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auto">
            <a:xfrm>
              <a:off x="4901" y="4603"/>
              <a:ext cx="258" cy="419"/>
            </a:xfrm>
            <a:custGeom>
              <a:avLst/>
              <a:gdLst>
                <a:gd name="T0" fmla="*/ 109 w 109"/>
                <a:gd name="T1" fmla="*/ 120 h 177"/>
                <a:gd name="T2" fmla="*/ 102 w 109"/>
                <a:gd name="T3" fmla="*/ 149 h 177"/>
                <a:gd name="T4" fmla="*/ 82 w 109"/>
                <a:gd name="T5" fmla="*/ 170 h 177"/>
                <a:gd name="T6" fmla="*/ 55 w 109"/>
                <a:gd name="T7" fmla="*/ 177 h 177"/>
                <a:gd name="T8" fmla="*/ 15 w 109"/>
                <a:gd name="T9" fmla="*/ 156 h 177"/>
                <a:gd name="T10" fmla="*/ 0 w 109"/>
                <a:gd name="T11" fmla="*/ 99 h 177"/>
                <a:gd name="T12" fmla="*/ 9 w 109"/>
                <a:gd name="T13" fmla="*/ 47 h 177"/>
                <a:gd name="T14" fmla="*/ 33 w 109"/>
                <a:gd name="T15" fmla="*/ 12 h 177"/>
                <a:gd name="T16" fmla="*/ 70 w 109"/>
                <a:gd name="T17" fmla="*/ 0 h 177"/>
                <a:gd name="T18" fmla="*/ 98 w 109"/>
                <a:gd name="T19" fmla="*/ 5 h 177"/>
                <a:gd name="T20" fmla="*/ 98 w 109"/>
                <a:gd name="T21" fmla="*/ 23 h 177"/>
                <a:gd name="T22" fmla="*/ 70 w 109"/>
                <a:gd name="T23" fmla="*/ 17 h 177"/>
                <a:gd name="T24" fmla="*/ 34 w 109"/>
                <a:gd name="T25" fmla="*/ 37 h 177"/>
                <a:gd name="T26" fmla="*/ 20 w 109"/>
                <a:gd name="T27" fmla="*/ 91 h 177"/>
                <a:gd name="T28" fmla="*/ 21 w 109"/>
                <a:gd name="T29" fmla="*/ 91 h 177"/>
                <a:gd name="T30" fmla="*/ 60 w 109"/>
                <a:gd name="T31" fmla="*/ 67 h 177"/>
                <a:gd name="T32" fmla="*/ 95 w 109"/>
                <a:gd name="T33" fmla="*/ 81 h 177"/>
                <a:gd name="T34" fmla="*/ 109 w 109"/>
                <a:gd name="T35" fmla="*/ 120 h 177"/>
                <a:gd name="T36" fmla="*/ 89 w 109"/>
                <a:gd name="T37" fmla="*/ 122 h 177"/>
                <a:gd name="T38" fmla="*/ 80 w 109"/>
                <a:gd name="T39" fmla="*/ 94 h 177"/>
                <a:gd name="T40" fmla="*/ 55 w 109"/>
                <a:gd name="T41" fmla="*/ 84 h 177"/>
                <a:gd name="T42" fmla="*/ 31 w 109"/>
                <a:gd name="T43" fmla="*/ 94 h 177"/>
                <a:gd name="T44" fmla="*/ 21 w 109"/>
                <a:gd name="T45" fmla="*/ 118 h 177"/>
                <a:gd name="T46" fmla="*/ 31 w 109"/>
                <a:gd name="T47" fmla="*/ 148 h 177"/>
                <a:gd name="T48" fmla="*/ 56 w 109"/>
                <a:gd name="T49" fmla="*/ 160 h 177"/>
                <a:gd name="T50" fmla="*/ 79 w 109"/>
                <a:gd name="T51" fmla="*/ 150 h 177"/>
                <a:gd name="T52" fmla="*/ 89 w 109"/>
                <a:gd name="T53" fmla="*/ 122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9" h="177">
                  <a:moveTo>
                    <a:pt x="109" y="120"/>
                  </a:moveTo>
                  <a:cubicBezTo>
                    <a:pt x="109" y="130"/>
                    <a:pt x="106" y="140"/>
                    <a:pt x="102" y="149"/>
                  </a:cubicBezTo>
                  <a:cubicBezTo>
                    <a:pt x="97" y="158"/>
                    <a:pt x="90" y="165"/>
                    <a:pt x="82" y="170"/>
                  </a:cubicBezTo>
                  <a:cubicBezTo>
                    <a:pt x="74" y="174"/>
                    <a:pt x="65" y="177"/>
                    <a:pt x="55" y="177"/>
                  </a:cubicBezTo>
                  <a:cubicBezTo>
                    <a:pt x="38" y="177"/>
                    <a:pt x="24" y="170"/>
                    <a:pt x="15" y="156"/>
                  </a:cubicBezTo>
                  <a:cubicBezTo>
                    <a:pt x="5" y="143"/>
                    <a:pt x="0" y="123"/>
                    <a:pt x="0" y="99"/>
                  </a:cubicBezTo>
                  <a:cubicBezTo>
                    <a:pt x="0" y="79"/>
                    <a:pt x="3" y="62"/>
                    <a:pt x="9" y="47"/>
                  </a:cubicBezTo>
                  <a:cubicBezTo>
                    <a:pt x="14" y="32"/>
                    <a:pt x="23" y="20"/>
                    <a:pt x="33" y="12"/>
                  </a:cubicBezTo>
                  <a:cubicBezTo>
                    <a:pt x="44" y="4"/>
                    <a:pt x="56" y="0"/>
                    <a:pt x="70" y="0"/>
                  </a:cubicBezTo>
                  <a:cubicBezTo>
                    <a:pt x="81" y="0"/>
                    <a:pt x="91" y="2"/>
                    <a:pt x="98" y="5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89" y="19"/>
                    <a:pt x="80" y="17"/>
                    <a:pt x="70" y="17"/>
                  </a:cubicBezTo>
                  <a:cubicBezTo>
                    <a:pt x="55" y="17"/>
                    <a:pt x="43" y="23"/>
                    <a:pt x="34" y="37"/>
                  </a:cubicBezTo>
                  <a:cubicBezTo>
                    <a:pt x="25" y="51"/>
                    <a:pt x="20" y="69"/>
                    <a:pt x="20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9" y="75"/>
                    <a:pt x="42" y="67"/>
                    <a:pt x="60" y="67"/>
                  </a:cubicBezTo>
                  <a:cubicBezTo>
                    <a:pt x="74" y="67"/>
                    <a:pt x="86" y="72"/>
                    <a:pt x="95" y="81"/>
                  </a:cubicBezTo>
                  <a:cubicBezTo>
                    <a:pt x="104" y="91"/>
                    <a:pt x="109" y="104"/>
                    <a:pt x="109" y="120"/>
                  </a:cubicBezTo>
                  <a:close/>
                  <a:moveTo>
                    <a:pt x="89" y="122"/>
                  </a:moveTo>
                  <a:cubicBezTo>
                    <a:pt x="89" y="110"/>
                    <a:pt x="86" y="101"/>
                    <a:pt x="80" y="94"/>
                  </a:cubicBezTo>
                  <a:cubicBezTo>
                    <a:pt x="74" y="87"/>
                    <a:pt x="66" y="84"/>
                    <a:pt x="55" y="84"/>
                  </a:cubicBezTo>
                  <a:cubicBezTo>
                    <a:pt x="46" y="84"/>
                    <a:pt x="38" y="87"/>
                    <a:pt x="31" y="94"/>
                  </a:cubicBezTo>
                  <a:cubicBezTo>
                    <a:pt x="25" y="100"/>
                    <a:pt x="21" y="108"/>
                    <a:pt x="21" y="118"/>
                  </a:cubicBezTo>
                  <a:cubicBezTo>
                    <a:pt x="21" y="130"/>
                    <a:pt x="25" y="140"/>
                    <a:pt x="31" y="148"/>
                  </a:cubicBezTo>
                  <a:cubicBezTo>
                    <a:pt x="38" y="156"/>
                    <a:pt x="46" y="160"/>
                    <a:pt x="56" y="160"/>
                  </a:cubicBezTo>
                  <a:cubicBezTo>
                    <a:pt x="65" y="160"/>
                    <a:pt x="73" y="157"/>
                    <a:pt x="79" y="150"/>
                  </a:cubicBezTo>
                  <a:cubicBezTo>
                    <a:pt x="85" y="143"/>
                    <a:pt x="89" y="133"/>
                    <a:pt x="89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8433553" y="6059509"/>
            <a:ext cx="4669" cy="4670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90" name="Freeform 19"/>
          <p:cNvSpPr>
            <a:spLocks/>
          </p:cNvSpPr>
          <p:nvPr userDrawn="1"/>
        </p:nvSpPr>
        <p:spPr bwMode="auto">
          <a:xfrm>
            <a:off x="8402428" y="5626799"/>
            <a:ext cx="4669" cy="4670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3" name="Group 102"/>
          <p:cNvGrpSpPr/>
          <p:nvPr userDrawn="1"/>
        </p:nvGrpSpPr>
        <p:grpSpPr>
          <a:xfrm>
            <a:off x="0" y="4244614"/>
            <a:ext cx="12192000" cy="2613387"/>
            <a:chOff x="0" y="4329113"/>
            <a:chExt cx="12436475" cy="2665413"/>
          </a:xfrm>
        </p:grpSpPr>
        <p:sp>
          <p:nvSpPr>
            <p:cNvPr id="92" name="Freeform 21"/>
            <p:cNvSpPr>
              <a:spLocks noEditPoints="1"/>
            </p:cNvSpPr>
            <p:nvPr userDrawn="1"/>
          </p:nvSpPr>
          <p:spPr bwMode="auto">
            <a:xfrm>
              <a:off x="3273425" y="4329113"/>
              <a:ext cx="9163050" cy="2665413"/>
            </a:xfrm>
            <a:custGeom>
              <a:avLst/>
              <a:gdLst>
                <a:gd name="T0" fmla="*/ 1597 w 1671"/>
                <a:gd name="T1" fmla="*/ 16 h 486"/>
                <a:gd name="T2" fmla="*/ 1574 w 1671"/>
                <a:gd name="T3" fmla="*/ 67 h 486"/>
                <a:gd name="T4" fmla="*/ 1470 w 1671"/>
                <a:gd name="T5" fmla="*/ 142 h 486"/>
                <a:gd name="T6" fmla="*/ 1369 w 1671"/>
                <a:gd name="T7" fmla="*/ 200 h 486"/>
                <a:gd name="T8" fmla="*/ 1309 w 1671"/>
                <a:gd name="T9" fmla="*/ 219 h 486"/>
                <a:gd name="T10" fmla="*/ 1241 w 1671"/>
                <a:gd name="T11" fmla="*/ 220 h 486"/>
                <a:gd name="T12" fmla="*/ 1143 w 1671"/>
                <a:gd name="T13" fmla="*/ 240 h 486"/>
                <a:gd name="T14" fmla="*/ 952 w 1671"/>
                <a:gd name="T15" fmla="*/ 283 h 486"/>
                <a:gd name="T16" fmla="*/ 898 w 1671"/>
                <a:gd name="T17" fmla="*/ 291 h 486"/>
                <a:gd name="T18" fmla="*/ 647 w 1671"/>
                <a:gd name="T19" fmla="*/ 226 h 486"/>
                <a:gd name="T20" fmla="*/ 248 w 1671"/>
                <a:gd name="T21" fmla="*/ 223 h 486"/>
                <a:gd name="T22" fmla="*/ 114 w 1671"/>
                <a:gd name="T23" fmla="*/ 239 h 486"/>
                <a:gd name="T24" fmla="*/ 50 w 1671"/>
                <a:gd name="T25" fmla="*/ 239 h 486"/>
                <a:gd name="T26" fmla="*/ 64 w 1671"/>
                <a:gd name="T27" fmla="*/ 486 h 486"/>
                <a:gd name="T28" fmla="*/ 114 w 1671"/>
                <a:gd name="T29" fmla="*/ 486 h 486"/>
                <a:gd name="T30" fmla="*/ 185 w 1671"/>
                <a:gd name="T31" fmla="*/ 486 h 486"/>
                <a:gd name="T32" fmla="*/ 248 w 1671"/>
                <a:gd name="T33" fmla="*/ 486 h 486"/>
                <a:gd name="T34" fmla="*/ 653 w 1671"/>
                <a:gd name="T35" fmla="*/ 486 h 486"/>
                <a:gd name="T36" fmla="*/ 727 w 1671"/>
                <a:gd name="T37" fmla="*/ 486 h 486"/>
                <a:gd name="T38" fmla="*/ 917 w 1671"/>
                <a:gd name="T39" fmla="*/ 486 h 486"/>
                <a:gd name="T40" fmla="*/ 952 w 1671"/>
                <a:gd name="T41" fmla="*/ 486 h 486"/>
                <a:gd name="T42" fmla="*/ 1091 w 1671"/>
                <a:gd name="T43" fmla="*/ 486 h 486"/>
                <a:gd name="T44" fmla="*/ 1491 w 1671"/>
                <a:gd name="T45" fmla="*/ 486 h 486"/>
                <a:gd name="T46" fmla="*/ 1571 w 1671"/>
                <a:gd name="T47" fmla="*/ 486 h 486"/>
                <a:gd name="T48" fmla="*/ 304 w 1671"/>
                <a:gd name="T49" fmla="*/ 376 h 486"/>
                <a:gd name="T50" fmla="*/ 304 w 1671"/>
                <a:gd name="T51" fmla="*/ 365 h 486"/>
                <a:gd name="T52" fmla="*/ 304 w 1671"/>
                <a:gd name="T53" fmla="*/ 354 h 486"/>
                <a:gd name="T54" fmla="*/ 334 w 1671"/>
                <a:gd name="T55" fmla="*/ 376 h 486"/>
                <a:gd name="T56" fmla="*/ 334 w 1671"/>
                <a:gd name="T57" fmla="*/ 365 h 486"/>
                <a:gd name="T58" fmla="*/ 334 w 1671"/>
                <a:gd name="T59" fmla="*/ 354 h 486"/>
                <a:gd name="T60" fmla="*/ 364 w 1671"/>
                <a:gd name="T61" fmla="*/ 376 h 486"/>
                <a:gd name="T62" fmla="*/ 364 w 1671"/>
                <a:gd name="T63" fmla="*/ 365 h 486"/>
                <a:gd name="T64" fmla="*/ 364 w 1671"/>
                <a:gd name="T65" fmla="*/ 354 h 486"/>
                <a:gd name="T66" fmla="*/ 447 w 1671"/>
                <a:gd name="T67" fmla="*/ 376 h 486"/>
                <a:gd name="T68" fmla="*/ 447 w 1671"/>
                <a:gd name="T69" fmla="*/ 365 h 486"/>
                <a:gd name="T70" fmla="*/ 447 w 1671"/>
                <a:gd name="T71" fmla="*/ 354 h 486"/>
                <a:gd name="T72" fmla="*/ 477 w 1671"/>
                <a:gd name="T73" fmla="*/ 376 h 486"/>
                <a:gd name="T74" fmla="*/ 477 w 1671"/>
                <a:gd name="T75" fmla="*/ 365 h 486"/>
                <a:gd name="T76" fmla="*/ 477 w 1671"/>
                <a:gd name="T77" fmla="*/ 354 h 486"/>
                <a:gd name="T78" fmla="*/ 507 w 1671"/>
                <a:gd name="T79" fmla="*/ 376 h 486"/>
                <a:gd name="T80" fmla="*/ 507 w 1671"/>
                <a:gd name="T81" fmla="*/ 365 h 486"/>
                <a:gd name="T82" fmla="*/ 507 w 1671"/>
                <a:gd name="T83" fmla="*/ 354 h 486"/>
                <a:gd name="T84" fmla="*/ 416 w 1671"/>
                <a:gd name="T85" fmla="*/ 246 h 486"/>
                <a:gd name="T86" fmla="*/ 568 w 1671"/>
                <a:gd name="T87" fmla="*/ 376 h 486"/>
                <a:gd name="T88" fmla="*/ 568 w 1671"/>
                <a:gd name="T89" fmla="*/ 365 h 486"/>
                <a:gd name="T90" fmla="*/ 568 w 1671"/>
                <a:gd name="T91" fmla="*/ 354 h 486"/>
                <a:gd name="T92" fmla="*/ 598 w 1671"/>
                <a:gd name="T93" fmla="*/ 376 h 486"/>
                <a:gd name="T94" fmla="*/ 598 w 1671"/>
                <a:gd name="T95" fmla="*/ 365 h 486"/>
                <a:gd name="T96" fmla="*/ 598 w 1671"/>
                <a:gd name="T97" fmla="*/ 354 h 486"/>
                <a:gd name="T98" fmla="*/ 628 w 1671"/>
                <a:gd name="T99" fmla="*/ 376 h 486"/>
                <a:gd name="T100" fmla="*/ 628 w 1671"/>
                <a:gd name="T101" fmla="*/ 365 h 486"/>
                <a:gd name="T102" fmla="*/ 628 w 1671"/>
                <a:gd name="T103" fmla="*/ 35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71" h="486">
                  <a:moveTo>
                    <a:pt x="1607" y="78"/>
                  </a:moveTo>
                  <a:cubicBezTo>
                    <a:pt x="1607" y="67"/>
                    <a:pt x="1607" y="67"/>
                    <a:pt x="1607" y="67"/>
                  </a:cubicBezTo>
                  <a:cubicBezTo>
                    <a:pt x="1598" y="67"/>
                    <a:pt x="1598" y="67"/>
                    <a:pt x="1598" y="67"/>
                  </a:cubicBezTo>
                  <a:cubicBezTo>
                    <a:pt x="1598" y="16"/>
                    <a:pt x="1598" y="16"/>
                    <a:pt x="1598" y="16"/>
                  </a:cubicBezTo>
                  <a:cubicBezTo>
                    <a:pt x="1597" y="16"/>
                    <a:pt x="1597" y="16"/>
                    <a:pt x="1597" y="16"/>
                  </a:cubicBezTo>
                  <a:cubicBezTo>
                    <a:pt x="1597" y="67"/>
                    <a:pt x="1597" y="67"/>
                    <a:pt x="1597" y="67"/>
                  </a:cubicBezTo>
                  <a:cubicBezTo>
                    <a:pt x="1577" y="67"/>
                    <a:pt x="1577" y="67"/>
                    <a:pt x="1577" y="67"/>
                  </a:cubicBezTo>
                  <a:cubicBezTo>
                    <a:pt x="1577" y="0"/>
                    <a:pt x="1577" y="0"/>
                    <a:pt x="1577" y="0"/>
                  </a:cubicBezTo>
                  <a:cubicBezTo>
                    <a:pt x="1574" y="0"/>
                    <a:pt x="1574" y="0"/>
                    <a:pt x="1574" y="0"/>
                  </a:cubicBezTo>
                  <a:cubicBezTo>
                    <a:pt x="1574" y="67"/>
                    <a:pt x="1574" y="67"/>
                    <a:pt x="1574" y="67"/>
                  </a:cubicBezTo>
                  <a:cubicBezTo>
                    <a:pt x="1567" y="67"/>
                    <a:pt x="1567" y="67"/>
                    <a:pt x="1567" y="67"/>
                  </a:cubicBezTo>
                  <a:cubicBezTo>
                    <a:pt x="1567" y="78"/>
                    <a:pt x="1567" y="78"/>
                    <a:pt x="1567" y="78"/>
                  </a:cubicBezTo>
                  <a:cubicBezTo>
                    <a:pt x="1559" y="78"/>
                    <a:pt x="1559" y="78"/>
                    <a:pt x="1559" y="78"/>
                  </a:cubicBezTo>
                  <a:cubicBezTo>
                    <a:pt x="1543" y="84"/>
                    <a:pt x="1543" y="84"/>
                    <a:pt x="1543" y="84"/>
                  </a:cubicBezTo>
                  <a:cubicBezTo>
                    <a:pt x="1470" y="142"/>
                    <a:pt x="1470" y="142"/>
                    <a:pt x="1470" y="142"/>
                  </a:cubicBezTo>
                  <a:cubicBezTo>
                    <a:pt x="1437" y="147"/>
                    <a:pt x="1437" y="147"/>
                    <a:pt x="1437" y="147"/>
                  </a:cubicBezTo>
                  <a:cubicBezTo>
                    <a:pt x="1437" y="207"/>
                    <a:pt x="1437" y="207"/>
                    <a:pt x="1437" y="207"/>
                  </a:cubicBezTo>
                  <a:cubicBezTo>
                    <a:pt x="1387" y="207"/>
                    <a:pt x="1387" y="207"/>
                    <a:pt x="1387" y="207"/>
                  </a:cubicBezTo>
                  <a:cubicBezTo>
                    <a:pt x="1380" y="200"/>
                    <a:pt x="1380" y="200"/>
                    <a:pt x="1380" y="200"/>
                  </a:cubicBezTo>
                  <a:cubicBezTo>
                    <a:pt x="1369" y="200"/>
                    <a:pt x="1369" y="200"/>
                    <a:pt x="1369" y="200"/>
                  </a:cubicBezTo>
                  <a:cubicBezTo>
                    <a:pt x="1369" y="189"/>
                    <a:pt x="1369" y="189"/>
                    <a:pt x="1369" y="189"/>
                  </a:cubicBezTo>
                  <a:cubicBezTo>
                    <a:pt x="1325" y="189"/>
                    <a:pt x="1325" y="189"/>
                    <a:pt x="1325" y="189"/>
                  </a:cubicBezTo>
                  <a:cubicBezTo>
                    <a:pt x="1325" y="199"/>
                    <a:pt x="1325" y="199"/>
                    <a:pt x="1325" y="199"/>
                  </a:cubicBezTo>
                  <a:cubicBezTo>
                    <a:pt x="1309" y="206"/>
                    <a:pt x="1309" y="206"/>
                    <a:pt x="1309" y="206"/>
                  </a:cubicBezTo>
                  <a:cubicBezTo>
                    <a:pt x="1309" y="219"/>
                    <a:pt x="1309" y="219"/>
                    <a:pt x="1309" y="219"/>
                  </a:cubicBezTo>
                  <a:cubicBezTo>
                    <a:pt x="1284" y="219"/>
                    <a:pt x="1284" y="219"/>
                    <a:pt x="1284" y="219"/>
                  </a:cubicBezTo>
                  <a:cubicBezTo>
                    <a:pt x="1284" y="205"/>
                    <a:pt x="1284" y="205"/>
                    <a:pt x="1284" y="205"/>
                  </a:cubicBezTo>
                  <a:cubicBezTo>
                    <a:pt x="1262" y="205"/>
                    <a:pt x="1262" y="205"/>
                    <a:pt x="1262" y="205"/>
                  </a:cubicBezTo>
                  <a:cubicBezTo>
                    <a:pt x="1262" y="220"/>
                    <a:pt x="1262" y="220"/>
                    <a:pt x="1262" y="220"/>
                  </a:cubicBezTo>
                  <a:cubicBezTo>
                    <a:pt x="1241" y="220"/>
                    <a:pt x="1241" y="220"/>
                    <a:pt x="1241" y="220"/>
                  </a:cubicBezTo>
                  <a:cubicBezTo>
                    <a:pt x="1241" y="234"/>
                    <a:pt x="1241" y="234"/>
                    <a:pt x="1241" y="234"/>
                  </a:cubicBezTo>
                  <a:cubicBezTo>
                    <a:pt x="1183" y="234"/>
                    <a:pt x="1183" y="234"/>
                    <a:pt x="1183" y="234"/>
                  </a:cubicBezTo>
                  <a:cubicBezTo>
                    <a:pt x="1183" y="226"/>
                    <a:pt x="1183" y="226"/>
                    <a:pt x="1183" y="226"/>
                  </a:cubicBezTo>
                  <a:cubicBezTo>
                    <a:pt x="1143" y="226"/>
                    <a:pt x="1143" y="226"/>
                    <a:pt x="1143" y="226"/>
                  </a:cubicBezTo>
                  <a:cubicBezTo>
                    <a:pt x="1143" y="240"/>
                    <a:pt x="1143" y="240"/>
                    <a:pt x="1143" y="240"/>
                  </a:cubicBezTo>
                  <a:cubicBezTo>
                    <a:pt x="1091" y="240"/>
                    <a:pt x="1091" y="240"/>
                    <a:pt x="1091" y="240"/>
                  </a:cubicBezTo>
                  <a:cubicBezTo>
                    <a:pt x="1091" y="141"/>
                    <a:pt x="1091" y="141"/>
                    <a:pt x="1091" y="141"/>
                  </a:cubicBezTo>
                  <a:cubicBezTo>
                    <a:pt x="970" y="141"/>
                    <a:pt x="970" y="141"/>
                    <a:pt x="970" y="141"/>
                  </a:cubicBezTo>
                  <a:cubicBezTo>
                    <a:pt x="970" y="283"/>
                    <a:pt x="970" y="283"/>
                    <a:pt x="970" y="283"/>
                  </a:cubicBezTo>
                  <a:cubicBezTo>
                    <a:pt x="952" y="283"/>
                    <a:pt x="952" y="283"/>
                    <a:pt x="952" y="283"/>
                  </a:cubicBezTo>
                  <a:cubicBezTo>
                    <a:pt x="952" y="294"/>
                    <a:pt x="952" y="294"/>
                    <a:pt x="952" y="294"/>
                  </a:cubicBezTo>
                  <a:cubicBezTo>
                    <a:pt x="917" y="294"/>
                    <a:pt x="917" y="294"/>
                    <a:pt x="917" y="294"/>
                  </a:cubicBezTo>
                  <a:cubicBezTo>
                    <a:pt x="917" y="316"/>
                    <a:pt x="917" y="316"/>
                    <a:pt x="917" y="316"/>
                  </a:cubicBezTo>
                  <a:cubicBezTo>
                    <a:pt x="898" y="316"/>
                    <a:pt x="898" y="316"/>
                    <a:pt x="898" y="316"/>
                  </a:cubicBezTo>
                  <a:cubicBezTo>
                    <a:pt x="898" y="291"/>
                    <a:pt x="898" y="291"/>
                    <a:pt x="898" y="291"/>
                  </a:cubicBezTo>
                  <a:cubicBezTo>
                    <a:pt x="761" y="291"/>
                    <a:pt x="761" y="291"/>
                    <a:pt x="761" y="291"/>
                  </a:cubicBezTo>
                  <a:cubicBezTo>
                    <a:pt x="761" y="281"/>
                    <a:pt x="761" y="281"/>
                    <a:pt x="761" y="281"/>
                  </a:cubicBezTo>
                  <a:cubicBezTo>
                    <a:pt x="727" y="281"/>
                    <a:pt x="727" y="281"/>
                    <a:pt x="727" y="281"/>
                  </a:cubicBezTo>
                  <a:cubicBezTo>
                    <a:pt x="727" y="226"/>
                    <a:pt x="727" y="226"/>
                    <a:pt x="727" y="226"/>
                  </a:cubicBezTo>
                  <a:cubicBezTo>
                    <a:pt x="647" y="226"/>
                    <a:pt x="647" y="226"/>
                    <a:pt x="647" y="226"/>
                  </a:cubicBezTo>
                  <a:cubicBezTo>
                    <a:pt x="647" y="294"/>
                    <a:pt x="647" y="294"/>
                    <a:pt x="647" y="294"/>
                  </a:cubicBezTo>
                  <a:cubicBezTo>
                    <a:pt x="477" y="154"/>
                    <a:pt x="326" y="244"/>
                    <a:pt x="276" y="283"/>
                  </a:cubicBezTo>
                  <a:cubicBezTo>
                    <a:pt x="276" y="247"/>
                    <a:pt x="276" y="247"/>
                    <a:pt x="276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23"/>
                    <a:pt x="248" y="223"/>
                    <a:pt x="248" y="223"/>
                  </a:cubicBezTo>
                  <a:cubicBezTo>
                    <a:pt x="185" y="223"/>
                    <a:pt x="185" y="223"/>
                    <a:pt x="185" y="223"/>
                  </a:cubicBezTo>
                  <a:cubicBezTo>
                    <a:pt x="185" y="353"/>
                    <a:pt x="185" y="353"/>
                    <a:pt x="185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3" y="239"/>
                    <a:pt x="153" y="239"/>
                    <a:pt x="153" y="239"/>
                  </a:cubicBezTo>
                  <a:cubicBezTo>
                    <a:pt x="114" y="239"/>
                    <a:pt x="114" y="239"/>
                    <a:pt x="114" y="239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64" y="199"/>
                    <a:pt x="64" y="199"/>
                    <a:pt x="64" y="199"/>
                  </a:cubicBezTo>
                  <a:cubicBezTo>
                    <a:pt x="64" y="343"/>
                    <a:pt x="64" y="343"/>
                    <a:pt x="64" y="343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50" y="239"/>
                    <a:pt x="50" y="239"/>
                    <a:pt x="50" y="23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36" y="486"/>
                    <a:pt x="36" y="486"/>
                    <a:pt x="36" y="486"/>
                  </a:cubicBezTo>
                  <a:cubicBezTo>
                    <a:pt x="50" y="486"/>
                    <a:pt x="50" y="486"/>
                    <a:pt x="50" y="486"/>
                  </a:cubicBezTo>
                  <a:cubicBezTo>
                    <a:pt x="64" y="486"/>
                    <a:pt x="64" y="486"/>
                    <a:pt x="64" y="486"/>
                  </a:cubicBezTo>
                  <a:cubicBezTo>
                    <a:pt x="66" y="486"/>
                    <a:pt x="66" y="486"/>
                    <a:pt x="66" y="486"/>
                  </a:cubicBezTo>
                  <a:cubicBezTo>
                    <a:pt x="75" y="486"/>
                    <a:pt x="75" y="486"/>
                    <a:pt x="75" y="486"/>
                  </a:cubicBezTo>
                  <a:cubicBezTo>
                    <a:pt x="103" y="486"/>
                    <a:pt x="103" y="486"/>
                    <a:pt x="103" y="486"/>
                  </a:cubicBezTo>
                  <a:cubicBezTo>
                    <a:pt x="112" y="486"/>
                    <a:pt x="112" y="486"/>
                    <a:pt x="112" y="486"/>
                  </a:cubicBezTo>
                  <a:cubicBezTo>
                    <a:pt x="114" y="486"/>
                    <a:pt x="114" y="486"/>
                    <a:pt x="114" y="486"/>
                  </a:cubicBezTo>
                  <a:cubicBezTo>
                    <a:pt x="125" y="486"/>
                    <a:pt x="125" y="486"/>
                    <a:pt x="125" y="486"/>
                  </a:cubicBezTo>
                  <a:cubicBezTo>
                    <a:pt x="141" y="486"/>
                    <a:pt x="141" y="486"/>
                    <a:pt x="141" y="486"/>
                  </a:cubicBezTo>
                  <a:cubicBezTo>
                    <a:pt x="153" y="486"/>
                    <a:pt x="153" y="486"/>
                    <a:pt x="153" y="486"/>
                  </a:cubicBezTo>
                  <a:cubicBezTo>
                    <a:pt x="165" y="486"/>
                    <a:pt x="165" y="486"/>
                    <a:pt x="165" y="486"/>
                  </a:cubicBezTo>
                  <a:cubicBezTo>
                    <a:pt x="185" y="486"/>
                    <a:pt x="185" y="486"/>
                    <a:pt x="185" y="486"/>
                  </a:cubicBezTo>
                  <a:cubicBezTo>
                    <a:pt x="192" y="486"/>
                    <a:pt x="192" y="486"/>
                    <a:pt x="192" y="486"/>
                  </a:cubicBezTo>
                  <a:cubicBezTo>
                    <a:pt x="197" y="486"/>
                    <a:pt x="197" y="486"/>
                    <a:pt x="197" y="486"/>
                  </a:cubicBezTo>
                  <a:cubicBezTo>
                    <a:pt x="219" y="486"/>
                    <a:pt x="219" y="486"/>
                    <a:pt x="219" y="486"/>
                  </a:cubicBezTo>
                  <a:cubicBezTo>
                    <a:pt x="239" y="486"/>
                    <a:pt x="239" y="486"/>
                    <a:pt x="239" y="486"/>
                  </a:cubicBezTo>
                  <a:cubicBezTo>
                    <a:pt x="248" y="486"/>
                    <a:pt x="248" y="486"/>
                    <a:pt x="248" y="486"/>
                  </a:cubicBezTo>
                  <a:cubicBezTo>
                    <a:pt x="268" y="486"/>
                    <a:pt x="268" y="486"/>
                    <a:pt x="268" y="486"/>
                  </a:cubicBezTo>
                  <a:cubicBezTo>
                    <a:pt x="276" y="486"/>
                    <a:pt x="276" y="486"/>
                    <a:pt x="276" y="486"/>
                  </a:cubicBezTo>
                  <a:cubicBezTo>
                    <a:pt x="635" y="486"/>
                    <a:pt x="635" y="486"/>
                    <a:pt x="635" y="486"/>
                  </a:cubicBezTo>
                  <a:cubicBezTo>
                    <a:pt x="647" y="486"/>
                    <a:pt x="647" y="486"/>
                    <a:pt x="647" y="486"/>
                  </a:cubicBezTo>
                  <a:cubicBezTo>
                    <a:pt x="653" y="486"/>
                    <a:pt x="653" y="486"/>
                    <a:pt x="653" y="486"/>
                  </a:cubicBezTo>
                  <a:cubicBezTo>
                    <a:pt x="665" y="486"/>
                    <a:pt x="665" y="486"/>
                    <a:pt x="665" y="486"/>
                  </a:cubicBezTo>
                  <a:cubicBezTo>
                    <a:pt x="673" y="486"/>
                    <a:pt x="673" y="486"/>
                    <a:pt x="673" y="486"/>
                  </a:cubicBezTo>
                  <a:cubicBezTo>
                    <a:pt x="703" y="486"/>
                    <a:pt x="703" y="486"/>
                    <a:pt x="703" y="486"/>
                  </a:cubicBezTo>
                  <a:cubicBezTo>
                    <a:pt x="717" y="486"/>
                    <a:pt x="717" y="486"/>
                    <a:pt x="717" y="486"/>
                  </a:cubicBezTo>
                  <a:cubicBezTo>
                    <a:pt x="727" y="486"/>
                    <a:pt x="727" y="486"/>
                    <a:pt x="727" y="486"/>
                  </a:cubicBezTo>
                  <a:cubicBezTo>
                    <a:pt x="751" y="486"/>
                    <a:pt x="751" y="486"/>
                    <a:pt x="751" y="486"/>
                  </a:cubicBezTo>
                  <a:cubicBezTo>
                    <a:pt x="761" y="486"/>
                    <a:pt x="761" y="486"/>
                    <a:pt x="761" y="486"/>
                  </a:cubicBezTo>
                  <a:cubicBezTo>
                    <a:pt x="888" y="486"/>
                    <a:pt x="888" y="486"/>
                    <a:pt x="888" y="486"/>
                  </a:cubicBezTo>
                  <a:cubicBezTo>
                    <a:pt x="898" y="486"/>
                    <a:pt x="898" y="486"/>
                    <a:pt x="898" y="486"/>
                  </a:cubicBezTo>
                  <a:cubicBezTo>
                    <a:pt x="917" y="486"/>
                    <a:pt x="917" y="486"/>
                    <a:pt x="917" y="486"/>
                  </a:cubicBezTo>
                  <a:cubicBezTo>
                    <a:pt x="926" y="486"/>
                    <a:pt x="926" y="486"/>
                    <a:pt x="926" y="486"/>
                  </a:cubicBezTo>
                  <a:cubicBezTo>
                    <a:pt x="929" y="486"/>
                    <a:pt x="929" y="486"/>
                    <a:pt x="929" y="486"/>
                  </a:cubicBezTo>
                  <a:cubicBezTo>
                    <a:pt x="930" y="486"/>
                    <a:pt x="930" y="486"/>
                    <a:pt x="930" y="486"/>
                  </a:cubicBezTo>
                  <a:cubicBezTo>
                    <a:pt x="945" y="486"/>
                    <a:pt x="945" y="486"/>
                    <a:pt x="945" y="486"/>
                  </a:cubicBezTo>
                  <a:cubicBezTo>
                    <a:pt x="952" y="486"/>
                    <a:pt x="952" y="486"/>
                    <a:pt x="952" y="486"/>
                  </a:cubicBezTo>
                  <a:cubicBezTo>
                    <a:pt x="961" y="486"/>
                    <a:pt x="961" y="486"/>
                    <a:pt x="961" y="486"/>
                  </a:cubicBezTo>
                  <a:cubicBezTo>
                    <a:pt x="970" y="486"/>
                    <a:pt x="970" y="486"/>
                    <a:pt x="970" y="486"/>
                  </a:cubicBezTo>
                  <a:cubicBezTo>
                    <a:pt x="977" y="486"/>
                    <a:pt x="977" y="486"/>
                    <a:pt x="977" y="486"/>
                  </a:cubicBezTo>
                  <a:cubicBezTo>
                    <a:pt x="1087" y="486"/>
                    <a:pt x="1087" y="486"/>
                    <a:pt x="1087" y="486"/>
                  </a:cubicBezTo>
                  <a:cubicBezTo>
                    <a:pt x="1091" y="486"/>
                    <a:pt x="1091" y="486"/>
                    <a:pt x="1091" y="486"/>
                  </a:cubicBezTo>
                  <a:cubicBezTo>
                    <a:pt x="1143" y="486"/>
                    <a:pt x="1143" y="486"/>
                    <a:pt x="1143" y="486"/>
                  </a:cubicBezTo>
                  <a:cubicBezTo>
                    <a:pt x="1147" y="486"/>
                    <a:pt x="1147" y="486"/>
                    <a:pt x="1147" y="486"/>
                  </a:cubicBezTo>
                  <a:cubicBezTo>
                    <a:pt x="1183" y="486"/>
                    <a:pt x="1183" y="486"/>
                    <a:pt x="1183" y="486"/>
                  </a:cubicBezTo>
                  <a:cubicBezTo>
                    <a:pt x="1484" y="486"/>
                    <a:pt x="1484" y="486"/>
                    <a:pt x="1484" y="486"/>
                  </a:cubicBezTo>
                  <a:cubicBezTo>
                    <a:pt x="1491" y="486"/>
                    <a:pt x="1491" y="486"/>
                    <a:pt x="1491" y="486"/>
                  </a:cubicBezTo>
                  <a:cubicBezTo>
                    <a:pt x="1494" y="486"/>
                    <a:pt x="1494" y="486"/>
                    <a:pt x="1494" y="486"/>
                  </a:cubicBezTo>
                  <a:cubicBezTo>
                    <a:pt x="1514" y="486"/>
                    <a:pt x="1514" y="486"/>
                    <a:pt x="1514" y="486"/>
                  </a:cubicBezTo>
                  <a:cubicBezTo>
                    <a:pt x="1515" y="486"/>
                    <a:pt x="1515" y="486"/>
                    <a:pt x="1515" y="486"/>
                  </a:cubicBezTo>
                  <a:cubicBezTo>
                    <a:pt x="1524" y="486"/>
                    <a:pt x="1524" y="486"/>
                    <a:pt x="1524" y="486"/>
                  </a:cubicBezTo>
                  <a:cubicBezTo>
                    <a:pt x="1571" y="486"/>
                    <a:pt x="1571" y="486"/>
                    <a:pt x="1571" y="486"/>
                  </a:cubicBezTo>
                  <a:cubicBezTo>
                    <a:pt x="1603" y="486"/>
                    <a:pt x="1603" y="486"/>
                    <a:pt x="1603" y="486"/>
                  </a:cubicBezTo>
                  <a:cubicBezTo>
                    <a:pt x="1671" y="486"/>
                    <a:pt x="1671" y="486"/>
                    <a:pt x="1671" y="486"/>
                  </a:cubicBezTo>
                  <a:cubicBezTo>
                    <a:pt x="1671" y="78"/>
                    <a:pt x="1671" y="78"/>
                    <a:pt x="1671" y="78"/>
                  </a:cubicBezTo>
                  <a:lnTo>
                    <a:pt x="1607" y="78"/>
                  </a:lnTo>
                  <a:close/>
                  <a:moveTo>
                    <a:pt x="304" y="376"/>
                  </a:moveTo>
                  <a:cubicBezTo>
                    <a:pt x="281" y="376"/>
                    <a:pt x="281" y="376"/>
                    <a:pt x="281" y="376"/>
                  </a:cubicBezTo>
                  <a:cubicBezTo>
                    <a:pt x="281" y="369"/>
                    <a:pt x="281" y="369"/>
                    <a:pt x="281" y="369"/>
                  </a:cubicBezTo>
                  <a:cubicBezTo>
                    <a:pt x="304" y="369"/>
                    <a:pt x="304" y="369"/>
                    <a:pt x="304" y="369"/>
                  </a:cubicBezTo>
                  <a:lnTo>
                    <a:pt x="304" y="376"/>
                  </a:lnTo>
                  <a:close/>
                  <a:moveTo>
                    <a:pt x="304" y="365"/>
                  </a:moveTo>
                  <a:cubicBezTo>
                    <a:pt x="281" y="365"/>
                    <a:pt x="281" y="365"/>
                    <a:pt x="281" y="365"/>
                  </a:cubicBezTo>
                  <a:cubicBezTo>
                    <a:pt x="281" y="357"/>
                    <a:pt x="281" y="357"/>
                    <a:pt x="281" y="357"/>
                  </a:cubicBezTo>
                  <a:cubicBezTo>
                    <a:pt x="304" y="357"/>
                    <a:pt x="304" y="357"/>
                    <a:pt x="304" y="357"/>
                  </a:cubicBezTo>
                  <a:lnTo>
                    <a:pt x="304" y="365"/>
                  </a:lnTo>
                  <a:close/>
                  <a:moveTo>
                    <a:pt x="304" y="354"/>
                  </a:moveTo>
                  <a:cubicBezTo>
                    <a:pt x="281" y="354"/>
                    <a:pt x="281" y="354"/>
                    <a:pt x="281" y="354"/>
                  </a:cubicBezTo>
                  <a:cubicBezTo>
                    <a:pt x="281" y="346"/>
                    <a:pt x="281" y="346"/>
                    <a:pt x="281" y="346"/>
                  </a:cubicBezTo>
                  <a:cubicBezTo>
                    <a:pt x="304" y="346"/>
                    <a:pt x="304" y="346"/>
                    <a:pt x="304" y="346"/>
                  </a:cubicBezTo>
                  <a:lnTo>
                    <a:pt x="304" y="354"/>
                  </a:lnTo>
                  <a:close/>
                  <a:moveTo>
                    <a:pt x="334" y="376"/>
                  </a:moveTo>
                  <a:cubicBezTo>
                    <a:pt x="311" y="376"/>
                    <a:pt x="311" y="376"/>
                    <a:pt x="311" y="376"/>
                  </a:cubicBezTo>
                  <a:cubicBezTo>
                    <a:pt x="311" y="369"/>
                    <a:pt x="311" y="369"/>
                    <a:pt x="311" y="369"/>
                  </a:cubicBezTo>
                  <a:cubicBezTo>
                    <a:pt x="334" y="369"/>
                    <a:pt x="334" y="369"/>
                    <a:pt x="334" y="369"/>
                  </a:cubicBezTo>
                  <a:lnTo>
                    <a:pt x="334" y="376"/>
                  </a:lnTo>
                  <a:close/>
                  <a:moveTo>
                    <a:pt x="334" y="365"/>
                  </a:moveTo>
                  <a:cubicBezTo>
                    <a:pt x="311" y="365"/>
                    <a:pt x="311" y="365"/>
                    <a:pt x="311" y="365"/>
                  </a:cubicBezTo>
                  <a:cubicBezTo>
                    <a:pt x="311" y="357"/>
                    <a:pt x="311" y="357"/>
                    <a:pt x="311" y="357"/>
                  </a:cubicBezTo>
                  <a:cubicBezTo>
                    <a:pt x="334" y="357"/>
                    <a:pt x="334" y="357"/>
                    <a:pt x="334" y="357"/>
                  </a:cubicBezTo>
                  <a:lnTo>
                    <a:pt x="334" y="365"/>
                  </a:lnTo>
                  <a:close/>
                  <a:moveTo>
                    <a:pt x="334" y="354"/>
                  </a:moveTo>
                  <a:cubicBezTo>
                    <a:pt x="311" y="354"/>
                    <a:pt x="311" y="354"/>
                    <a:pt x="311" y="354"/>
                  </a:cubicBezTo>
                  <a:cubicBezTo>
                    <a:pt x="311" y="346"/>
                    <a:pt x="311" y="346"/>
                    <a:pt x="311" y="346"/>
                  </a:cubicBezTo>
                  <a:cubicBezTo>
                    <a:pt x="334" y="346"/>
                    <a:pt x="334" y="346"/>
                    <a:pt x="334" y="346"/>
                  </a:cubicBezTo>
                  <a:lnTo>
                    <a:pt x="334" y="354"/>
                  </a:lnTo>
                  <a:close/>
                  <a:moveTo>
                    <a:pt x="364" y="376"/>
                  </a:moveTo>
                  <a:cubicBezTo>
                    <a:pt x="341" y="376"/>
                    <a:pt x="341" y="376"/>
                    <a:pt x="341" y="376"/>
                  </a:cubicBezTo>
                  <a:cubicBezTo>
                    <a:pt x="341" y="369"/>
                    <a:pt x="341" y="369"/>
                    <a:pt x="341" y="369"/>
                  </a:cubicBezTo>
                  <a:cubicBezTo>
                    <a:pt x="364" y="369"/>
                    <a:pt x="364" y="369"/>
                    <a:pt x="364" y="369"/>
                  </a:cubicBezTo>
                  <a:lnTo>
                    <a:pt x="364" y="376"/>
                  </a:lnTo>
                  <a:close/>
                  <a:moveTo>
                    <a:pt x="364" y="365"/>
                  </a:moveTo>
                  <a:cubicBezTo>
                    <a:pt x="341" y="365"/>
                    <a:pt x="341" y="365"/>
                    <a:pt x="341" y="365"/>
                  </a:cubicBezTo>
                  <a:cubicBezTo>
                    <a:pt x="341" y="357"/>
                    <a:pt x="341" y="357"/>
                    <a:pt x="341" y="357"/>
                  </a:cubicBezTo>
                  <a:cubicBezTo>
                    <a:pt x="364" y="357"/>
                    <a:pt x="364" y="357"/>
                    <a:pt x="364" y="357"/>
                  </a:cubicBezTo>
                  <a:lnTo>
                    <a:pt x="364" y="365"/>
                  </a:lnTo>
                  <a:close/>
                  <a:moveTo>
                    <a:pt x="364" y="354"/>
                  </a:moveTo>
                  <a:cubicBezTo>
                    <a:pt x="341" y="354"/>
                    <a:pt x="341" y="354"/>
                    <a:pt x="341" y="354"/>
                  </a:cubicBezTo>
                  <a:cubicBezTo>
                    <a:pt x="341" y="346"/>
                    <a:pt x="341" y="346"/>
                    <a:pt x="341" y="346"/>
                  </a:cubicBezTo>
                  <a:cubicBezTo>
                    <a:pt x="364" y="346"/>
                    <a:pt x="364" y="346"/>
                    <a:pt x="364" y="346"/>
                  </a:cubicBezTo>
                  <a:lnTo>
                    <a:pt x="364" y="354"/>
                  </a:lnTo>
                  <a:close/>
                  <a:moveTo>
                    <a:pt x="447" y="376"/>
                  </a:moveTo>
                  <a:cubicBezTo>
                    <a:pt x="424" y="376"/>
                    <a:pt x="424" y="376"/>
                    <a:pt x="424" y="376"/>
                  </a:cubicBezTo>
                  <a:cubicBezTo>
                    <a:pt x="424" y="369"/>
                    <a:pt x="424" y="369"/>
                    <a:pt x="424" y="369"/>
                  </a:cubicBezTo>
                  <a:cubicBezTo>
                    <a:pt x="447" y="369"/>
                    <a:pt x="447" y="369"/>
                    <a:pt x="447" y="369"/>
                  </a:cubicBezTo>
                  <a:lnTo>
                    <a:pt x="447" y="376"/>
                  </a:lnTo>
                  <a:close/>
                  <a:moveTo>
                    <a:pt x="447" y="365"/>
                  </a:moveTo>
                  <a:cubicBezTo>
                    <a:pt x="424" y="365"/>
                    <a:pt x="424" y="365"/>
                    <a:pt x="424" y="365"/>
                  </a:cubicBezTo>
                  <a:cubicBezTo>
                    <a:pt x="424" y="357"/>
                    <a:pt x="424" y="357"/>
                    <a:pt x="424" y="357"/>
                  </a:cubicBezTo>
                  <a:cubicBezTo>
                    <a:pt x="447" y="357"/>
                    <a:pt x="447" y="357"/>
                    <a:pt x="447" y="357"/>
                  </a:cubicBezTo>
                  <a:lnTo>
                    <a:pt x="447" y="365"/>
                  </a:lnTo>
                  <a:close/>
                  <a:moveTo>
                    <a:pt x="447" y="354"/>
                  </a:moveTo>
                  <a:cubicBezTo>
                    <a:pt x="424" y="354"/>
                    <a:pt x="424" y="354"/>
                    <a:pt x="424" y="354"/>
                  </a:cubicBezTo>
                  <a:cubicBezTo>
                    <a:pt x="424" y="346"/>
                    <a:pt x="424" y="346"/>
                    <a:pt x="424" y="346"/>
                  </a:cubicBezTo>
                  <a:cubicBezTo>
                    <a:pt x="447" y="346"/>
                    <a:pt x="447" y="346"/>
                    <a:pt x="447" y="346"/>
                  </a:cubicBezTo>
                  <a:lnTo>
                    <a:pt x="447" y="354"/>
                  </a:lnTo>
                  <a:close/>
                  <a:moveTo>
                    <a:pt x="477" y="376"/>
                  </a:moveTo>
                  <a:cubicBezTo>
                    <a:pt x="454" y="376"/>
                    <a:pt x="454" y="376"/>
                    <a:pt x="454" y="376"/>
                  </a:cubicBezTo>
                  <a:cubicBezTo>
                    <a:pt x="454" y="369"/>
                    <a:pt x="454" y="369"/>
                    <a:pt x="454" y="369"/>
                  </a:cubicBezTo>
                  <a:cubicBezTo>
                    <a:pt x="477" y="369"/>
                    <a:pt x="477" y="369"/>
                    <a:pt x="477" y="369"/>
                  </a:cubicBezTo>
                  <a:lnTo>
                    <a:pt x="477" y="376"/>
                  </a:lnTo>
                  <a:close/>
                  <a:moveTo>
                    <a:pt x="477" y="365"/>
                  </a:moveTo>
                  <a:cubicBezTo>
                    <a:pt x="454" y="365"/>
                    <a:pt x="454" y="365"/>
                    <a:pt x="454" y="365"/>
                  </a:cubicBezTo>
                  <a:cubicBezTo>
                    <a:pt x="454" y="357"/>
                    <a:pt x="454" y="357"/>
                    <a:pt x="454" y="357"/>
                  </a:cubicBezTo>
                  <a:cubicBezTo>
                    <a:pt x="477" y="357"/>
                    <a:pt x="477" y="357"/>
                    <a:pt x="477" y="357"/>
                  </a:cubicBezTo>
                  <a:lnTo>
                    <a:pt x="477" y="365"/>
                  </a:lnTo>
                  <a:close/>
                  <a:moveTo>
                    <a:pt x="477" y="354"/>
                  </a:moveTo>
                  <a:cubicBezTo>
                    <a:pt x="454" y="354"/>
                    <a:pt x="454" y="354"/>
                    <a:pt x="454" y="354"/>
                  </a:cubicBezTo>
                  <a:cubicBezTo>
                    <a:pt x="454" y="346"/>
                    <a:pt x="454" y="346"/>
                    <a:pt x="454" y="346"/>
                  </a:cubicBezTo>
                  <a:cubicBezTo>
                    <a:pt x="477" y="346"/>
                    <a:pt x="477" y="346"/>
                    <a:pt x="477" y="346"/>
                  </a:cubicBezTo>
                  <a:lnTo>
                    <a:pt x="477" y="354"/>
                  </a:lnTo>
                  <a:close/>
                  <a:moveTo>
                    <a:pt x="507" y="376"/>
                  </a:moveTo>
                  <a:cubicBezTo>
                    <a:pt x="484" y="376"/>
                    <a:pt x="484" y="376"/>
                    <a:pt x="484" y="376"/>
                  </a:cubicBezTo>
                  <a:cubicBezTo>
                    <a:pt x="484" y="369"/>
                    <a:pt x="484" y="369"/>
                    <a:pt x="484" y="369"/>
                  </a:cubicBezTo>
                  <a:cubicBezTo>
                    <a:pt x="507" y="369"/>
                    <a:pt x="507" y="369"/>
                    <a:pt x="507" y="369"/>
                  </a:cubicBezTo>
                  <a:lnTo>
                    <a:pt x="507" y="376"/>
                  </a:lnTo>
                  <a:close/>
                  <a:moveTo>
                    <a:pt x="507" y="365"/>
                  </a:moveTo>
                  <a:cubicBezTo>
                    <a:pt x="484" y="365"/>
                    <a:pt x="484" y="365"/>
                    <a:pt x="484" y="365"/>
                  </a:cubicBezTo>
                  <a:cubicBezTo>
                    <a:pt x="484" y="357"/>
                    <a:pt x="484" y="357"/>
                    <a:pt x="484" y="357"/>
                  </a:cubicBezTo>
                  <a:cubicBezTo>
                    <a:pt x="507" y="357"/>
                    <a:pt x="507" y="357"/>
                    <a:pt x="507" y="357"/>
                  </a:cubicBezTo>
                  <a:lnTo>
                    <a:pt x="507" y="365"/>
                  </a:lnTo>
                  <a:close/>
                  <a:moveTo>
                    <a:pt x="507" y="354"/>
                  </a:moveTo>
                  <a:cubicBezTo>
                    <a:pt x="484" y="354"/>
                    <a:pt x="484" y="354"/>
                    <a:pt x="484" y="354"/>
                  </a:cubicBezTo>
                  <a:cubicBezTo>
                    <a:pt x="484" y="346"/>
                    <a:pt x="484" y="346"/>
                    <a:pt x="484" y="346"/>
                  </a:cubicBezTo>
                  <a:cubicBezTo>
                    <a:pt x="507" y="346"/>
                    <a:pt x="507" y="346"/>
                    <a:pt x="507" y="346"/>
                  </a:cubicBezTo>
                  <a:lnTo>
                    <a:pt x="507" y="354"/>
                  </a:lnTo>
                  <a:close/>
                  <a:moveTo>
                    <a:pt x="416" y="246"/>
                  </a:moveTo>
                  <a:cubicBezTo>
                    <a:pt x="551" y="224"/>
                    <a:pt x="641" y="326"/>
                    <a:pt x="641" y="326"/>
                  </a:cubicBezTo>
                  <a:cubicBezTo>
                    <a:pt x="511" y="326"/>
                    <a:pt x="511" y="326"/>
                    <a:pt x="511" y="326"/>
                  </a:cubicBezTo>
                  <a:cubicBezTo>
                    <a:pt x="482" y="263"/>
                    <a:pt x="416" y="246"/>
                    <a:pt x="416" y="246"/>
                  </a:cubicBezTo>
                  <a:close/>
                  <a:moveTo>
                    <a:pt x="590" y="376"/>
                  </a:moveTo>
                  <a:cubicBezTo>
                    <a:pt x="568" y="376"/>
                    <a:pt x="568" y="376"/>
                    <a:pt x="568" y="376"/>
                  </a:cubicBezTo>
                  <a:cubicBezTo>
                    <a:pt x="568" y="369"/>
                    <a:pt x="568" y="369"/>
                    <a:pt x="568" y="369"/>
                  </a:cubicBezTo>
                  <a:cubicBezTo>
                    <a:pt x="590" y="369"/>
                    <a:pt x="590" y="369"/>
                    <a:pt x="590" y="369"/>
                  </a:cubicBezTo>
                  <a:lnTo>
                    <a:pt x="590" y="376"/>
                  </a:lnTo>
                  <a:close/>
                  <a:moveTo>
                    <a:pt x="590" y="365"/>
                  </a:moveTo>
                  <a:cubicBezTo>
                    <a:pt x="568" y="365"/>
                    <a:pt x="568" y="365"/>
                    <a:pt x="568" y="365"/>
                  </a:cubicBezTo>
                  <a:cubicBezTo>
                    <a:pt x="568" y="357"/>
                    <a:pt x="568" y="357"/>
                    <a:pt x="568" y="357"/>
                  </a:cubicBezTo>
                  <a:cubicBezTo>
                    <a:pt x="590" y="357"/>
                    <a:pt x="590" y="357"/>
                    <a:pt x="590" y="357"/>
                  </a:cubicBezTo>
                  <a:lnTo>
                    <a:pt x="590" y="365"/>
                  </a:lnTo>
                  <a:close/>
                  <a:moveTo>
                    <a:pt x="590" y="354"/>
                  </a:moveTo>
                  <a:cubicBezTo>
                    <a:pt x="568" y="354"/>
                    <a:pt x="568" y="354"/>
                    <a:pt x="568" y="354"/>
                  </a:cubicBezTo>
                  <a:cubicBezTo>
                    <a:pt x="568" y="346"/>
                    <a:pt x="568" y="346"/>
                    <a:pt x="568" y="346"/>
                  </a:cubicBezTo>
                  <a:cubicBezTo>
                    <a:pt x="590" y="346"/>
                    <a:pt x="590" y="346"/>
                    <a:pt x="590" y="346"/>
                  </a:cubicBezTo>
                  <a:lnTo>
                    <a:pt x="590" y="354"/>
                  </a:lnTo>
                  <a:close/>
                  <a:moveTo>
                    <a:pt x="620" y="376"/>
                  </a:moveTo>
                  <a:cubicBezTo>
                    <a:pt x="598" y="376"/>
                    <a:pt x="598" y="376"/>
                    <a:pt x="598" y="376"/>
                  </a:cubicBezTo>
                  <a:cubicBezTo>
                    <a:pt x="598" y="369"/>
                    <a:pt x="598" y="369"/>
                    <a:pt x="598" y="369"/>
                  </a:cubicBezTo>
                  <a:cubicBezTo>
                    <a:pt x="620" y="369"/>
                    <a:pt x="620" y="369"/>
                    <a:pt x="620" y="369"/>
                  </a:cubicBezTo>
                  <a:lnTo>
                    <a:pt x="620" y="376"/>
                  </a:lnTo>
                  <a:close/>
                  <a:moveTo>
                    <a:pt x="620" y="365"/>
                  </a:moveTo>
                  <a:cubicBezTo>
                    <a:pt x="598" y="365"/>
                    <a:pt x="598" y="365"/>
                    <a:pt x="598" y="365"/>
                  </a:cubicBezTo>
                  <a:cubicBezTo>
                    <a:pt x="598" y="357"/>
                    <a:pt x="598" y="357"/>
                    <a:pt x="598" y="357"/>
                  </a:cubicBezTo>
                  <a:cubicBezTo>
                    <a:pt x="620" y="357"/>
                    <a:pt x="620" y="357"/>
                    <a:pt x="620" y="357"/>
                  </a:cubicBezTo>
                  <a:lnTo>
                    <a:pt x="620" y="365"/>
                  </a:lnTo>
                  <a:close/>
                  <a:moveTo>
                    <a:pt x="620" y="354"/>
                  </a:moveTo>
                  <a:cubicBezTo>
                    <a:pt x="598" y="354"/>
                    <a:pt x="598" y="354"/>
                    <a:pt x="598" y="354"/>
                  </a:cubicBezTo>
                  <a:cubicBezTo>
                    <a:pt x="598" y="346"/>
                    <a:pt x="598" y="346"/>
                    <a:pt x="598" y="346"/>
                  </a:cubicBezTo>
                  <a:cubicBezTo>
                    <a:pt x="620" y="346"/>
                    <a:pt x="620" y="346"/>
                    <a:pt x="620" y="346"/>
                  </a:cubicBezTo>
                  <a:lnTo>
                    <a:pt x="620" y="354"/>
                  </a:lnTo>
                  <a:close/>
                  <a:moveTo>
                    <a:pt x="650" y="376"/>
                  </a:moveTo>
                  <a:cubicBezTo>
                    <a:pt x="628" y="376"/>
                    <a:pt x="628" y="376"/>
                    <a:pt x="628" y="376"/>
                  </a:cubicBezTo>
                  <a:cubicBezTo>
                    <a:pt x="628" y="369"/>
                    <a:pt x="628" y="369"/>
                    <a:pt x="628" y="369"/>
                  </a:cubicBezTo>
                  <a:cubicBezTo>
                    <a:pt x="650" y="369"/>
                    <a:pt x="650" y="369"/>
                    <a:pt x="650" y="369"/>
                  </a:cubicBezTo>
                  <a:lnTo>
                    <a:pt x="650" y="376"/>
                  </a:lnTo>
                  <a:close/>
                  <a:moveTo>
                    <a:pt x="650" y="365"/>
                  </a:moveTo>
                  <a:cubicBezTo>
                    <a:pt x="628" y="365"/>
                    <a:pt x="628" y="365"/>
                    <a:pt x="628" y="365"/>
                  </a:cubicBezTo>
                  <a:cubicBezTo>
                    <a:pt x="628" y="357"/>
                    <a:pt x="628" y="357"/>
                    <a:pt x="628" y="357"/>
                  </a:cubicBezTo>
                  <a:cubicBezTo>
                    <a:pt x="650" y="357"/>
                    <a:pt x="650" y="357"/>
                    <a:pt x="650" y="357"/>
                  </a:cubicBezTo>
                  <a:lnTo>
                    <a:pt x="650" y="365"/>
                  </a:lnTo>
                  <a:close/>
                  <a:moveTo>
                    <a:pt x="650" y="354"/>
                  </a:moveTo>
                  <a:cubicBezTo>
                    <a:pt x="628" y="354"/>
                    <a:pt x="628" y="354"/>
                    <a:pt x="628" y="354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50" y="346"/>
                    <a:pt x="650" y="346"/>
                    <a:pt x="650" y="346"/>
                  </a:cubicBezTo>
                  <a:lnTo>
                    <a:pt x="650" y="35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/>
            </a:p>
          </p:txBody>
        </p:sp>
        <p:grpSp>
          <p:nvGrpSpPr>
            <p:cNvPr id="102" name="Group 101"/>
            <p:cNvGrpSpPr/>
            <p:nvPr userDrawn="1"/>
          </p:nvGrpSpPr>
          <p:grpSpPr>
            <a:xfrm>
              <a:off x="0" y="5397500"/>
              <a:ext cx="3292189" cy="1597025"/>
              <a:chOff x="0" y="5691798"/>
              <a:chExt cx="3292189" cy="1302727"/>
            </a:xfrm>
          </p:grpSpPr>
          <p:sp>
            <p:nvSpPr>
              <p:cNvPr id="94" name="Rectangle 93"/>
              <p:cNvSpPr/>
              <p:nvPr userDrawn="1"/>
            </p:nvSpPr>
            <p:spPr bwMode="auto">
              <a:xfrm>
                <a:off x="2560677" y="6148993"/>
                <a:ext cx="731512" cy="84553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Rectangle 94"/>
              <p:cNvSpPr/>
              <p:nvPr userDrawn="1"/>
            </p:nvSpPr>
            <p:spPr bwMode="auto">
              <a:xfrm>
                <a:off x="2012043" y="5966115"/>
                <a:ext cx="731512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tangle 95"/>
              <p:cNvSpPr/>
              <p:nvPr userDrawn="1"/>
            </p:nvSpPr>
            <p:spPr bwMode="auto">
              <a:xfrm>
                <a:off x="1554847" y="5691798"/>
                <a:ext cx="457195" cy="130272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Rectangle 96"/>
              <p:cNvSpPr/>
              <p:nvPr userDrawn="1"/>
            </p:nvSpPr>
            <p:spPr bwMode="auto">
              <a:xfrm>
                <a:off x="1097653" y="5966115"/>
                <a:ext cx="457195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tangle 97"/>
              <p:cNvSpPr/>
              <p:nvPr userDrawn="1"/>
            </p:nvSpPr>
            <p:spPr bwMode="auto">
              <a:xfrm>
                <a:off x="823336" y="5783263"/>
                <a:ext cx="274317" cy="121126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Rectangle 98"/>
              <p:cNvSpPr/>
              <p:nvPr userDrawn="1"/>
            </p:nvSpPr>
            <p:spPr bwMode="auto">
              <a:xfrm>
                <a:off x="549019" y="5691798"/>
                <a:ext cx="274317" cy="130272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tangle 99"/>
              <p:cNvSpPr/>
              <p:nvPr userDrawn="1"/>
            </p:nvSpPr>
            <p:spPr bwMode="auto">
              <a:xfrm>
                <a:off x="0" y="5966115"/>
                <a:ext cx="731512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TextBox 2"/>
          <p:cNvSpPr txBox="1"/>
          <p:nvPr userDrawn="1"/>
        </p:nvSpPr>
        <p:spPr>
          <a:xfrm>
            <a:off x="10418150" y="5950485"/>
            <a:ext cx="1504547" cy="615609"/>
          </a:xfrm>
          <a:prstGeom prst="rect">
            <a:avLst/>
          </a:prstGeom>
          <a:noFill/>
        </p:spPr>
        <p:txBody>
          <a:bodyPr wrap="none" lIns="179285" tIns="143428" rIns="179285" bIns="143428" rtlCol="0" anchor="b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WPC16</a:t>
            </a:r>
          </a:p>
        </p:txBody>
      </p:sp>
    </p:spTree>
    <p:extLst>
      <p:ext uri="{BB962C8B-B14F-4D97-AF65-F5344CB8AC3E}">
        <p14:creationId xmlns:p14="http://schemas.microsoft.com/office/powerpoint/2010/main" val="2653794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233488" y="855372"/>
            <a:ext cx="2689274" cy="567015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1961">
                <a:gradFill>
                  <a:gsLst>
                    <a:gs pos="14644">
                      <a:schemeClr val="tx1"/>
                    </a:gs>
                    <a:gs pos="37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 dirty="0"/>
              <a:t>#hashtag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85245" y="299807"/>
            <a:ext cx="3137517" cy="567015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1961" baseline="0">
                <a:gradFill>
                  <a:gsLst>
                    <a:gs pos="90377">
                      <a:srgbClr val="F8F8F8"/>
                    </a:gs>
                    <a:gs pos="72000">
                      <a:srgbClr val="F8F8F8"/>
                    </a:gs>
                  </a:gsLst>
                  <a:lin ang="5400000" scaled="0"/>
                </a:gradFill>
                <a:latin typeface="+mn-lt"/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4729"/>
            <a:ext cx="1421436" cy="300619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31581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226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150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660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0182939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146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35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636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374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1406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827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32800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198020" y="0"/>
            <a:ext cx="6993116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lnSpc>
                <a:spcPct val="90000"/>
              </a:lnSpc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331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169959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28297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112432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199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1466667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3673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5989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53407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053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050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 defTabSz="914367">
              <a:defRPr/>
            </a:pPr>
            <a:r>
              <a:rPr lang="en-US" sz="882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 algn="r">
              <a:defRPr/>
            </a:pPr>
            <a:fld id="{F8A0AC42-AA1D-4944-8D96-660DE70C7E1B}" type="slidenum">
              <a:rPr lang="en-US" sz="882" smtClean="0"/>
              <a:pPr algn="r">
                <a:defRPr/>
              </a:pPr>
              <a:t>‹#›</a:t>
            </a:fld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1500722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974301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titl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2618152"/>
          </a:xfr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91440" rIns="457200" bIns="91440" rtlCol="0" anchor="ctr"/>
          <a:lstStyle>
            <a:lvl1pPr>
              <a:defRPr lang="en-US" sz="4800">
                <a:solidFill>
                  <a:srgbClr val="EDC30D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78635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246561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44" t="1853" r="1090"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rgbClr val="525252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45" dirty="0"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6715" y="6029312"/>
            <a:ext cx="1668788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8" t="16947" r="68" b="15692"/>
          <a:stretch/>
        </p:blipFill>
        <p:spPr>
          <a:xfrm>
            <a:off x="623" y="-623"/>
            <a:ext cx="12191377" cy="685862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644611" y="2103818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850" y="2103817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231" y="3896902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937" y="6220952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" y="-1"/>
            <a:ext cx="15133212" cy="851485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03" y="6043943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02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3" y="6029312"/>
            <a:ext cx="1673890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4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3953133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129680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492289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8645133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926766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4589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6850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466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700955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608791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14812939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686258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515334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969604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2297846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9303943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60701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8688139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453861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174692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92582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629336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192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7472403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4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81159"/>
            <a:ext cx="1408078" cy="300619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095549" y="2425050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3257293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Pr>
        <a:solidFill>
          <a:srgbClr val="3E9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4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9"/>
            <a:ext cx="1421436" cy="300619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4" y="301618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080" indent="0">
              <a:buNone/>
              <a:defRPr sz="1961"/>
            </a:lvl2pPr>
            <a:lvl3pPr marL="560134" indent="0">
              <a:buNone/>
              <a:defRPr sz="1961"/>
            </a:lvl3pPr>
            <a:lvl4pPr marL="784187" indent="0">
              <a:buNone/>
              <a:defRPr sz="1961"/>
            </a:lvl4pPr>
            <a:lvl5pPr marL="1008241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53151" y="-923887"/>
            <a:ext cx="2819048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203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Pr>
        <a:solidFill>
          <a:srgbClr val="3E9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4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4" y="301618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080" indent="0">
              <a:buNone/>
              <a:defRPr sz="1961"/>
            </a:lvl2pPr>
            <a:lvl3pPr marL="560134" indent="0">
              <a:buNone/>
              <a:defRPr sz="1961"/>
            </a:lvl3pPr>
            <a:lvl4pPr marL="784187" indent="0">
              <a:buNone/>
              <a:defRPr sz="1961"/>
            </a:lvl4pPr>
            <a:lvl5pPr marL="1008241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48212" y="481157"/>
            <a:ext cx="1214650" cy="30482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3308" y="5954047"/>
            <a:ext cx="1892940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10201" y="-1400137"/>
            <a:ext cx="2819048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46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992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365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9041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101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184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336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472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211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194675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416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875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4" y="2906012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52373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7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52025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7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37341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95884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6722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09657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3E9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77001" y="-800062"/>
            <a:ext cx="2819048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05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rgbClr val="1E42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76976" y="-961988"/>
            <a:ext cx="2819048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17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098150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70067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856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671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9223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4447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5111" y="3083653"/>
            <a:ext cx="3214044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65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7237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8115989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Photo_O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47" y="0"/>
            <a:ext cx="12178754" cy="518836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428818" y="3992486"/>
            <a:ext cx="6278150" cy="2865514"/>
          </a:xfrm>
          <a:prstGeom prst="rect">
            <a:avLst/>
          </a:prstGeom>
          <a:solidFill>
            <a:schemeClr val="accent2">
              <a:alpha val="82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428818" y="3992488"/>
            <a:ext cx="6274911" cy="1698765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427199" y="5691253"/>
            <a:ext cx="6276530" cy="125023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715" y="6029312"/>
            <a:ext cx="1673267" cy="36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31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Rectangle 178"/>
          <p:cNvSpPr/>
          <p:nvPr userDrawn="1"/>
        </p:nvSpPr>
        <p:spPr bwMode="auto">
          <a:xfrm>
            <a:off x="0" y="6335586"/>
            <a:ext cx="12192000" cy="522414"/>
          </a:xfrm>
          <a:prstGeom prst="rect">
            <a:avLst/>
          </a:prstGeom>
          <a:solidFill>
            <a:srgbClr val="409AE1"/>
          </a:solidFill>
          <a:ln w="28575"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1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0" name="Freeform 539"/>
          <p:cNvSpPr>
            <a:spLocks noChangeAspect="1"/>
          </p:cNvSpPr>
          <p:nvPr userDrawn="1"/>
        </p:nvSpPr>
        <p:spPr bwMode="auto">
          <a:xfrm>
            <a:off x="9120902" y="5975156"/>
            <a:ext cx="1929367" cy="1060890"/>
          </a:xfrm>
          <a:custGeom>
            <a:avLst/>
            <a:gdLst>
              <a:gd name="T0" fmla="*/ 312 w 400"/>
              <a:gd name="T1" fmla="*/ 220 h 220"/>
              <a:gd name="T2" fmla="*/ 45 w 400"/>
              <a:gd name="T3" fmla="*/ 220 h 220"/>
              <a:gd name="T4" fmla="*/ 0 w 400"/>
              <a:gd name="T5" fmla="*/ 175 h 220"/>
              <a:gd name="T6" fmla="*/ 34 w 400"/>
              <a:gd name="T7" fmla="*/ 131 h 220"/>
              <a:gd name="T8" fmla="*/ 87 w 400"/>
              <a:gd name="T9" fmla="*/ 91 h 220"/>
              <a:gd name="T10" fmla="*/ 183 w 400"/>
              <a:gd name="T11" fmla="*/ 0 h 220"/>
              <a:gd name="T12" fmla="*/ 270 w 400"/>
              <a:gd name="T13" fmla="*/ 55 h 220"/>
              <a:gd name="T14" fmla="*/ 312 w 400"/>
              <a:gd name="T15" fmla="*/ 44 h 220"/>
              <a:gd name="T16" fmla="*/ 400 w 400"/>
              <a:gd name="T17" fmla="*/ 132 h 220"/>
              <a:gd name="T18" fmla="*/ 312 w 400"/>
              <a:gd name="T19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0" h="220">
                <a:moveTo>
                  <a:pt x="312" y="220"/>
                </a:moveTo>
                <a:cubicBezTo>
                  <a:pt x="45" y="220"/>
                  <a:pt x="45" y="220"/>
                  <a:pt x="45" y="220"/>
                </a:cubicBezTo>
                <a:cubicBezTo>
                  <a:pt x="20" y="220"/>
                  <a:pt x="0" y="200"/>
                  <a:pt x="0" y="175"/>
                </a:cubicBezTo>
                <a:cubicBezTo>
                  <a:pt x="0" y="154"/>
                  <a:pt x="15" y="136"/>
                  <a:pt x="34" y="131"/>
                </a:cubicBezTo>
                <a:cubicBezTo>
                  <a:pt x="43" y="110"/>
                  <a:pt x="63" y="94"/>
                  <a:pt x="87" y="91"/>
                </a:cubicBezTo>
                <a:cubicBezTo>
                  <a:pt x="89" y="40"/>
                  <a:pt x="131" y="0"/>
                  <a:pt x="183" y="0"/>
                </a:cubicBezTo>
                <a:cubicBezTo>
                  <a:pt x="220" y="0"/>
                  <a:pt x="254" y="22"/>
                  <a:pt x="270" y="55"/>
                </a:cubicBezTo>
                <a:cubicBezTo>
                  <a:pt x="282" y="48"/>
                  <a:pt x="297" y="44"/>
                  <a:pt x="312" y="44"/>
                </a:cubicBezTo>
                <a:cubicBezTo>
                  <a:pt x="360" y="44"/>
                  <a:pt x="400" y="84"/>
                  <a:pt x="400" y="132"/>
                </a:cubicBezTo>
                <a:cubicBezTo>
                  <a:pt x="400" y="181"/>
                  <a:pt x="360" y="220"/>
                  <a:pt x="312" y="220"/>
                </a:cubicBezTo>
                <a:close/>
              </a:path>
            </a:pathLst>
          </a:custGeom>
          <a:solidFill>
            <a:srgbClr val="409AE1"/>
          </a:solidFill>
          <a:ln w="28575"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1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181" name="Group 180"/>
          <p:cNvGrpSpPr/>
          <p:nvPr userDrawn="1"/>
        </p:nvGrpSpPr>
        <p:grpSpPr>
          <a:xfrm>
            <a:off x="9154998" y="6227209"/>
            <a:ext cx="1788758" cy="758621"/>
            <a:chOff x="4494770" y="2621197"/>
            <a:chExt cx="3127126" cy="1326043"/>
          </a:xfrm>
        </p:grpSpPr>
        <p:sp>
          <p:nvSpPr>
            <p:cNvPr id="182" name="Freeform 12"/>
            <p:cNvSpPr>
              <a:spLocks/>
            </p:cNvSpPr>
            <p:nvPr/>
          </p:nvSpPr>
          <p:spPr bwMode="auto">
            <a:xfrm>
              <a:off x="4494770" y="3400845"/>
              <a:ext cx="457856" cy="62986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3"/>
            <p:cNvSpPr>
              <a:spLocks/>
            </p:cNvSpPr>
            <p:nvPr/>
          </p:nvSpPr>
          <p:spPr bwMode="auto">
            <a:xfrm>
              <a:off x="4889641" y="3331803"/>
              <a:ext cx="540222" cy="245886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6726775" y="3077438"/>
              <a:ext cx="895121" cy="24588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5"/>
            <p:cNvSpPr>
              <a:spLocks noEditPoints="1"/>
            </p:cNvSpPr>
            <p:nvPr/>
          </p:nvSpPr>
          <p:spPr bwMode="auto">
            <a:xfrm>
              <a:off x="6892717" y="3505013"/>
              <a:ext cx="208337" cy="208337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8"/>
            <p:cNvSpPr>
              <a:spLocks/>
            </p:cNvSpPr>
            <p:nvPr/>
          </p:nvSpPr>
          <p:spPr bwMode="auto">
            <a:xfrm>
              <a:off x="6965393" y="3268818"/>
              <a:ext cx="64197" cy="213182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9"/>
            <p:cNvSpPr>
              <a:spLocks noEditPoints="1"/>
            </p:cNvSpPr>
            <p:nvPr/>
          </p:nvSpPr>
          <p:spPr bwMode="auto">
            <a:xfrm>
              <a:off x="5077386" y="3609182"/>
              <a:ext cx="186534" cy="185323"/>
            </a:xfrm>
            <a:custGeom>
              <a:avLst/>
              <a:gdLst>
                <a:gd name="T0" fmla="*/ 154 w 308"/>
                <a:gd name="T1" fmla="*/ 306 h 306"/>
                <a:gd name="T2" fmla="*/ 124 w 308"/>
                <a:gd name="T3" fmla="*/ 304 h 306"/>
                <a:gd name="T4" fmla="*/ 94 w 308"/>
                <a:gd name="T5" fmla="*/ 294 h 306"/>
                <a:gd name="T6" fmla="*/ 68 w 308"/>
                <a:gd name="T7" fmla="*/ 280 h 306"/>
                <a:gd name="T8" fmla="*/ 46 w 308"/>
                <a:gd name="T9" fmla="*/ 262 h 306"/>
                <a:gd name="T10" fmla="*/ 26 w 308"/>
                <a:gd name="T11" fmla="*/ 240 h 306"/>
                <a:gd name="T12" fmla="*/ 12 w 308"/>
                <a:gd name="T13" fmla="*/ 212 h 306"/>
                <a:gd name="T14" fmla="*/ 4 w 308"/>
                <a:gd name="T15" fmla="*/ 184 h 306"/>
                <a:gd name="T16" fmla="*/ 0 w 308"/>
                <a:gd name="T17" fmla="*/ 154 h 306"/>
                <a:gd name="T18" fmla="*/ 2 w 308"/>
                <a:gd name="T19" fmla="*/ 138 h 306"/>
                <a:gd name="T20" fmla="*/ 8 w 308"/>
                <a:gd name="T21" fmla="*/ 108 h 306"/>
                <a:gd name="T22" fmla="*/ 20 w 308"/>
                <a:gd name="T23" fmla="*/ 80 h 306"/>
                <a:gd name="T24" fmla="*/ 36 w 308"/>
                <a:gd name="T25" fmla="*/ 56 h 306"/>
                <a:gd name="T26" fmla="*/ 56 w 308"/>
                <a:gd name="T27" fmla="*/ 34 h 306"/>
                <a:gd name="T28" fmla="*/ 82 w 308"/>
                <a:gd name="T29" fmla="*/ 18 h 306"/>
                <a:gd name="T30" fmla="*/ 108 w 308"/>
                <a:gd name="T31" fmla="*/ 6 h 306"/>
                <a:gd name="T32" fmla="*/ 138 w 308"/>
                <a:gd name="T33" fmla="*/ 0 h 306"/>
                <a:gd name="T34" fmla="*/ 154 w 308"/>
                <a:gd name="T35" fmla="*/ 0 h 306"/>
                <a:gd name="T36" fmla="*/ 186 w 308"/>
                <a:gd name="T37" fmla="*/ 2 h 306"/>
                <a:gd name="T38" fmla="*/ 214 w 308"/>
                <a:gd name="T39" fmla="*/ 12 h 306"/>
                <a:gd name="T40" fmla="*/ 240 w 308"/>
                <a:gd name="T41" fmla="*/ 26 h 306"/>
                <a:gd name="T42" fmla="*/ 262 w 308"/>
                <a:gd name="T43" fmla="*/ 44 h 306"/>
                <a:gd name="T44" fmla="*/ 282 w 308"/>
                <a:gd name="T45" fmla="*/ 68 h 306"/>
                <a:gd name="T46" fmla="*/ 296 w 308"/>
                <a:gd name="T47" fmla="*/ 94 h 306"/>
                <a:gd name="T48" fmla="*/ 304 w 308"/>
                <a:gd name="T49" fmla="*/ 122 h 306"/>
                <a:gd name="T50" fmla="*/ 308 w 308"/>
                <a:gd name="T51" fmla="*/ 154 h 306"/>
                <a:gd name="T52" fmla="*/ 308 w 308"/>
                <a:gd name="T53" fmla="*/ 168 h 306"/>
                <a:gd name="T54" fmla="*/ 302 w 308"/>
                <a:gd name="T55" fmla="*/ 198 h 306"/>
                <a:gd name="T56" fmla="*/ 290 w 308"/>
                <a:gd name="T57" fmla="*/ 226 h 306"/>
                <a:gd name="T58" fmla="*/ 272 w 308"/>
                <a:gd name="T59" fmla="*/ 250 h 306"/>
                <a:gd name="T60" fmla="*/ 252 w 308"/>
                <a:gd name="T61" fmla="*/ 272 h 306"/>
                <a:gd name="T62" fmla="*/ 228 w 308"/>
                <a:gd name="T63" fmla="*/ 288 h 306"/>
                <a:gd name="T64" fmla="*/ 200 w 308"/>
                <a:gd name="T65" fmla="*/ 300 h 306"/>
                <a:gd name="T66" fmla="*/ 170 w 308"/>
                <a:gd name="T67" fmla="*/ 306 h 306"/>
                <a:gd name="T68" fmla="*/ 154 w 308"/>
                <a:gd name="T69" fmla="*/ 306 h 306"/>
                <a:gd name="T70" fmla="*/ 154 w 308"/>
                <a:gd name="T71" fmla="*/ 104 h 306"/>
                <a:gd name="T72" fmla="*/ 136 w 308"/>
                <a:gd name="T73" fmla="*/ 108 h 306"/>
                <a:gd name="T74" fmla="*/ 120 w 308"/>
                <a:gd name="T75" fmla="*/ 118 h 306"/>
                <a:gd name="T76" fmla="*/ 110 w 308"/>
                <a:gd name="T77" fmla="*/ 134 h 306"/>
                <a:gd name="T78" fmla="*/ 106 w 308"/>
                <a:gd name="T79" fmla="*/ 154 h 306"/>
                <a:gd name="T80" fmla="*/ 106 w 308"/>
                <a:gd name="T81" fmla="*/ 164 h 306"/>
                <a:gd name="T82" fmla="*/ 114 w 308"/>
                <a:gd name="T83" fmla="*/ 180 h 306"/>
                <a:gd name="T84" fmla="*/ 128 w 308"/>
                <a:gd name="T85" fmla="*/ 194 h 306"/>
                <a:gd name="T86" fmla="*/ 144 w 308"/>
                <a:gd name="T87" fmla="*/ 200 h 306"/>
                <a:gd name="T88" fmla="*/ 154 w 308"/>
                <a:gd name="T89" fmla="*/ 202 h 306"/>
                <a:gd name="T90" fmla="*/ 174 w 308"/>
                <a:gd name="T91" fmla="*/ 198 h 306"/>
                <a:gd name="T92" fmla="*/ 188 w 308"/>
                <a:gd name="T93" fmla="*/ 188 h 306"/>
                <a:gd name="T94" fmla="*/ 200 w 308"/>
                <a:gd name="T95" fmla="*/ 172 h 306"/>
                <a:gd name="T96" fmla="*/ 202 w 308"/>
                <a:gd name="T97" fmla="*/ 154 h 306"/>
                <a:gd name="T98" fmla="*/ 202 w 308"/>
                <a:gd name="T99" fmla="*/ 144 h 306"/>
                <a:gd name="T100" fmla="*/ 194 w 308"/>
                <a:gd name="T101" fmla="*/ 126 h 306"/>
                <a:gd name="T102" fmla="*/ 182 w 308"/>
                <a:gd name="T103" fmla="*/ 112 h 306"/>
                <a:gd name="T104" fmla="*/ 164 w 308"/>
                <a:gd name="T105" fmla="*/ 106 h 306"/>
                <a:gd name="T106" fmla="*/ 154 w 308"/>
                <a:gd name="T107" fmla="*/ 10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4" y="304"/>
                  </a:lnTo>
                  <a:lnTo>
                    <a:pt x="108" y="300"/>
                  </a:lnTo>
                  <a:lnTo>
                    <a:pt x="94" y="294"/>
                  </a:lnTo>
                  <a:lnTo>
                    <a:pt x="82" y="288"/>
                  </a:lnTo>
                  <a:lnTo>
                    <a:pt x="68" y="280"/>
                  </a:lnTo>
                  <a:lnTo>
                    <a:pt x="56" y="272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40"/>
                  </a:lnTo>
                  <a:lnTo>
                    <a:pt x="20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20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4"/>
                  </a:lnTo>
                  <a:lnTo>
                    <a:pt x="56" y="34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4" y="2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8" y="18"/>
                  </a:lnTo>
                  <a:lnTo>
                    <a:pt x="240" y="26"/>
                  </a:lnTo>
                  <a:lnTo>
                    <a:pt x="252" y="34"/>
                  </a:lnTo>
                  <a:lnTo>
                    <a:pt x="262" y="44"/>
                  </a:lnTo>
                  <a:lnTo>
                    <a:pt x="272" y="56"/>
                  </a:lnTo>
                  <a:lnTo>
                    <a:pt x="282" y="68"/>
                  </a:lnTo>
                  <a:lnTo>
                    <a:pt x="290" y="80"/>
                  </a:lnTo>
                  <a:lnTo>
                    <a:pt x="296" y="94"/>
                  </a:lnTo>
                  <a:lnTo>
                    <a:pt x="302" y="108"/>
                  </a:lnTo>
                  <a:lnTo>
                    <a:pt x="304" y="122"/>
                  </a:lnTo>
                  <a:lnTo>
                    <a:pt x="308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68"/>
                  </a:lnTo>
                  <a:lnTo>
                    <a:pt x="304" y="184"/>
                  </a:lnTo>
                  <a:lnTo>
                    <a:pt x="302" y="198"/>
                  </a:lnTo>
                  <a:lnTo>
                    <a:pt x="296" y="212"/>
                  </a:lnTo>
                  <a:lnTo>
                    <a:pt x="290" y="226"/>
                  </a:lnTo>
                  <a:lnTo>
                    <a:pt x="282" y="240"/>
                  </a:lnTo>
                  <a:lnTo>
                    <a:pt x="272" y="250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0"/>
                  </a:lnTo>
                  <a:lnTo>
                    <a:pt x="228" y="288"/>
                  </a:lnTo>
                  <a:lnTo>
                    <a:pt x="214" y="294"/>
                  </a:lnTo>
                  <a:lnTo>
                    <a:pt x="200" y="300"/>
                  </a:lnTo>
                  <a:lnTo>
                    <a:pt x="186" y="304"/>
                  </a:lnTo>
                  <a:lnTo>
                    <a:pt x="170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6" y="108"/>
                  </a:lnTo>
                  <a:lnTo>
                    <a:pt x="128" y="112"/>
                  </a:lnTo>
                  <a:lnTo>
                    <a:pt x="120" y="118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4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8" y="194"/>
                  </a:lnTo>
                  <a:lnTo>
                    <a:pt x="136" y="198"/>
                  </a:lnTo>
                  <a:lnTo>
                    <a:pt x="144" y="200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0"/>
                  </a:lnTo>
                  <a:lnTo>
                    <a:pt x="174" y="198"/>
                  </a:lnTo>
                  <a:lnTo>
                    <a:pt x="182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200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200" y="134"/>
                  </a:lnTo>
                  <a:lnTo>
                    <a:pt x="194" y="126"/>
                  </a:lnTo>
                  <a:lnTo>
                    <a:pt x="188" y="118"/>
                  </a:lnTo>
                  <a:lnTo>
                    <a:pt x="182" y="112"/>
                  </a:lnTo>
                  <a:lnTo>
                    <a:pt x="174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20"/>
            <p:cNvSpPr>
              <a:spLocks noEditPoints="1"/>
            </p:cNvSpPr>
            <p:nvPr/>
          </p:nvSpPr>
          <p:spPr bwMode="auto">
            <a:xfrm>
              <a:off x="7250039" y="2854566"/>
              <a:ext cx="186534" cy="186534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5413104" y="2621197"/>
              <a:ext cx="1326042" cy="1326043"/>
              <a:chOff x="5413104" y="2598477"/>
              <a:chExt cx="1326042" cy="1326043"/>
            </a:xfrm>
          </p:grpSpPr>
          <p:sp>
            <p:nvSpPr>
              <p:cNvPr id="190" name="Freeform 5"/>
              <p:cNvSpPr>
                <a:spLocks/>
              </p:cNvSpPr>
              <p:nvPr/>
            </p:nvSpPr>
            <p:spPr bwMode="auto">
              <a:xfrm>
                <a:off x="5642613" y="3166154"/>
                <a:ext cx="838193" cy="391237"/>
              </a:xfrm>
              <a:custGeom>
                <a:avLst/>
                <a:gdLst>
                  <a:gd name="T0" fmla="*/ 1228 w 1384"/>
                  <a:gd name="T1" fmla="*/ 646 h 646"/>
                  <a:gd name="T2" fmla="*/ 1198 w 1384"/>
                  <a:gd name="T3" fmla="*/ 636 h 646"/>
                  <a:gd name="T4" fmla="*/ 1178 w 1384"/>
                  <a:gd name="T5" fmla="*/ 614 h 646"/>
                  <a:gd name="T6" fmla="*/ 1174 w 1384"/>
                  <a:gd name="T7" fmla="*/ 106 h 646"/>
                  <a:gd name="T8" fmla="*/ 1118 w 1384"/>
                  <a:gd name="T9" fmla="*/ 594 h 646"/>
                  <a:gd name="T10" fmla="*/ 1108 w 1384"/>
                  <a:gd name="T11" fmla="*/ 622 h 646"/>
                  <a:gd name="T12" fmla="*/ 1086 w 1384"/>
                  <a:gd name="T13" fmla="*/ 642 h 646"/>
                  <a:gd name="T14" fmla="*/ 824 w 1384"/>
                  <a:gd name="T15" fmla="*/ 646 h 646"/>
                  <a:gd name="T16" fmla="*/ 804 w 1384"/>
                  <a:gd name="T17" fmla="*/ 642 h 646"/>
                  <a:gd name="T18" fmla="*/ 780 w 1384"/>
                  <a:gd name="T19" fmla="*/ 622 h 646"/>
                  <a:gd name="T20" fmla="*/ 772 w 1384"/>
                  <a:gd name="T21" fmla="*/ 594 h 646"/>
                  <a:gd name="T22" fmla="*/ 714 w 1384"/>
                  <a:gd name="T23" fmla="*/ 594 h 646"/>
                  <a:gd name="T24" fmla="*/ 710 w 1384"/>
                  <a:gd name="T25" fmla="*/ 614 h 646"/>
                  <a:gd name="T26" fmla="*/ 690 w 1384"/>
                  <a:gd name="T27" fmla="*/ 636 h 646"/>
                  <a:gd name="T28" fmla="*/ 662 w 1384"/>
                  <a:gd name="T29" fmla="*/ 646 h 646"/>
                  <a:gd name="T30" fmla="*/ 410 w 1384"/>
                  <a:gd name="T31" fmla="*/ 644 h 646"/>
                  <a:gd name="T32" fmla="*/ 384 w 1384"/>
                  <a:gd name="T33" fmla="*/ 630 h 646"/>
                  <a:gd name="T34" fmla="*/ 368 w 1384"/>
                  <a:gd name="T35" fmla="*/ 604 h 646"/>
                  <a:gd name="T36" fmla="*/ 310 w 1384"/>
                  <a:gd name="T37" fmla="*/ 322 h 646"/>
                  <a:gd name="T38" fmla="*/ 310 w 1384"/>
                  <a:gd name="T39" fmla="*/ 604 h 646"/>
                  <a:gd name="T40" fmla="*/ 296 w 1384"/>
                  <a:gd name="T41" fmla="*/ 630 h 646"/>
                  <a:gd name="T42" fmla="*/ 268 w 1384"/>
                  <a:gd name="T43" fmla="*/ 644 h 646"/>
                  <a:gd name="T44" fmla="*/ 52 w 1384"/>
                  <a:gd name="T45" fmla="*/ 646 h 646"/>
                  <a:gd name="T46" fmla="*/ 24 w 1384"/>
                  <a:gd name="T47" fmla="*/ 636 h 646"/>
                  <a:gd name="T48" fmla="*/ 4 w 1384"/>
                  <a:gd name="T49" fmla="*/ 614 h 646"/>
                  <a:gd name="T50" fmla="*/ 0 w 1384"/>
                  <a:gd name="T51" fmla="*/ 594 h 646"/>
                  <a:gd name="T52" fmla="*/ 10 w 1384"/>
                  <a:gd name="T53" fmla="*/ 564 h 646"/>
                  <a:gd name="T54" fmla="*/ 32 w 1384"/>
                  <a:gd name="T55" fmla="*/ 544 h 646"/>
                  <a:gd name="T56" fmla="*/ 206 w 1384"/>
                  <a:gd name="T57" fmla="*/ 540 h 646"/>
                  <a:gd name="T58" fmla="*/ 208 w 1384"/>
                  <a:gd name="T59" fmla="*/ 278 h 646"/>
                  <a:gd name="T60" fmla="*/ 228 w 1384"/>
                  <a:gd name="T61" fmla="*/ 240 h 646"/>
                  <a:gd name="T62" fmla="*/ 266 w 1384"/>
                  <a:gd name="T63" fmla="*/ 218 h 646"/>
                  <a:gd name="T64" fmla="*/ 398 w 1384"/>
                  <a:gd name="T65" fmla="*/ 218 h 646"/>
                  <a:gd name="T66" fmla="*/ 440 w 1384"/>
                  <a:gd name="T67" fmla="*/ 230 h 646"/>
                  <a:gd name="T68" fmla="*/ 466 w 1384"/>
                  <a:gd name="T69" fmla="*/ 264 h 646"/>
                  <a:gd name="T70" fmla="*/ 472 w 1384"/>
                  <a:gd name="T71" fmla="*/ 540 h 646"/>
                  <a:gd name="T72" fmla="*/ 608 w 1384"/>
                  <a:gd name="T73" fmla="*/ 152 h 646"/>
                  <a:gd name="T74" fmla="*/ 622 w 1384"/>
                  <a:gd name="T75" fmla="*/ 110 h 646"/>
                  <a:gd name="T76" fmla="*/ 654 w 1384"/>
                  <a:gd name="T77" fmla="*/ 82 h 646"/>
                  <a:gd name="T78" fmla="*/ 800 w 1384"/>
                  <a:gd name="T79" fmla="*/ 76 h 646"/>
                  <a:gd name="T80" fmla="*/ 830 w 1384"/>
                  <a:gd name="T81" fmla="*/ 82 h 646"/>
                  <a:gd name="T82" fmla="*/ 864 w 1384"/>
                  <a:gd name="T83" fmla="*/ 110 h 646"/>
                  <a:gd name="T84" fmla="*/ 876 w 1384"/>
                  <a:gd name="T85" fmla="*/ 152 h 646"/>
                  <a:gd name="T86" fmla="*/ 1012 w 1384"/>
                  <a:gd name="T87" fmla="*/ 76 h 646"/>
                  <a:gd name="T88" fmla="*/ 1018 w 1384"/>
                  <a:gd name="T89" fmla="*/ 46 h 646"/>
                  <a:gd name="T90" fmla="*/ 1046 w 1384"/>
                  <a:gd name="T91" fmla="*/ 12 h 646"/>
                  <a:gd name="T92" fmla="*/ 1088 w 1384"/>
                  <a:gd name="T93" fmla="*/ 0 h 646"/>
                  <a:gd name="T94" fmla="*/ 1220 w 1384"/>
                  <a:gd name="T95" fmla="*/ 2 h 646"/>
                  <a:gd name="T96" fmla="*/ 1258 w 1384"/>
                  <a:gd name="T97" fmla="*/ 22 h 646"/>
                  <a:gd name="T98" fmla="*/ 1278 w 1384"/>
                  <a:gd name="T99" fmla="*/ 60 h 646"/>
                  <a:gd name="T100" fmla="*/ 1332 w 1384"/>
                  <a:gd name="T101" fmla="*/ 540 h 646"/>
                  <a:gd name="T102" fmla="*/ 1352 w 1384"/>
                  <a:gd name="T103" fmla="*/ 544 h 646"/>
                  <a:gd name="T104" fmla="*/ 1376 w 1384"/>
                  <a:gd name="T105" fmla="*/ 564 h 646"/>
                  <a:gd name="T106" fmla="*/ 1384 w 1384"/>
                  <a:gd name="T107" fmla="*/ 594 h 646"/>
                  <a:gd name="T108" fmla="*/ 1380 w 1384"/>
                  <a:gd name="T109" fmla="*/ 614 h 646"/>
                  <a:gd name="T110" fmla="*/ 1362 w 1384"/>
                  <a:gd name="T111" fmla="*/ 636 h 646"/>
                  <a:gd name="T112" fmla="*/ 1332 w 1384"/>
                  <a:gd name="T113" fmla="*/ 646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84" h="646">
                    <a:moveTo>
                      <a:pt x="1332" y="646"/>
                    </a:moveTo>
                    <a:lnTo>
                      <a:pt x="1228" y="646"/>
                    </a:lnTo>
                    <a:lnTo>
                      <a:pt x="1228" y="646"/>
                    </a:lnTo>
                    <a:lnTo>
                      <a:pt x="1216" y="644"/>
                    </a:lnTo>
                    <a:lnTo>
                      <a:pt x="1206" y="642"/>
                    </a:lnTo>
                    <a:lnTo>
                      <a:pt x="1198" y="636"/>
                    </a:lnTo>
                    <a:lnTo>
                      <a:pt x="1190" y="630"/>
                    </a:lnTo>
                    <a:lnTo>
                      <a:pt x="1184" y="622"/>
                    </a:lnTo>
                    <a:lnTo>
                      <a:pt x="1178" y="614"/>
                    </a:lnTo>
                    <a:lnTo>
                      <a:pt x="1176" y="604"/>
                    </a:lnTo>
                    <a:lnTo>
                      <a:pt x="1174" y="594"/>
                    </a:lnTo>
                    <a:lnTo>
                      <a:pt x="1174" y="106"/>
                    </a:lnTo>
                    <a:lnTo>
                      <a:pt x="1118" y="106"/>
                    </a:lnTo>
                    <a:lnTo>
                      <a:pt x="1118" y="594"/>
                    </a:lnTo>
                    <a:lnTo>
                      <a:pt x="1118" y="594"/>
                    </a:lnTo>
                    <a:lnTo>
                      <a:pt x="1116" y="604"/>
                    </a:lnTo>
                    <a:lnTo>
                      <a:pt x="1114" y="614"/>
                    </a:lnTo>
                    <a:lnTo>
                      <a:pt x="1108" y="622"/>
                    </a:lnTo>
                    <a:lnTo>
                      <a:pt x="1102" y="630"/>
                    </a:lnTo>
                    <a:lnTo>
                      <a:pt x="1094" y="636"/>
                    </a:lnTo>
                    <a:lnTo>
                      <a:pt x="1086" y="642"/>
                    </a:lnTo>
                    <a:lnTo>
                      <a:pt x="1076" y="644"/>
                    </a:lnTo>
                    <a:lnTo>
                      <a:pt x="1064" y="646"/>
                    </a:lnTo>
                    <a:lnTo>
                      <a:pt x="824" y="646"/>
                    </a:lnTo>
                    <a:lnTo>
                      <a:pt x="824" y="646"/>
                    </a:lnTo>
                    <a:lnTo>
                      <a:pt x="814" y="644"/>
                    </a:lnTo>
                    <a:lnTo>
                      <a:pt x="804" y="642"/>
                    </a:lnTo>
                    <a:lnTo>
                      <a:pt x="794" y="636"/>
                    </a:lnTo>
                    <a:lnTo>
                      <a:pt x="786" y="630"/>
                    </a:lnTo>
                    <a:lnTo>
                      <a:pt x="780" y="622"/>
                    </a:lnTo>
                    <a:lnTo>
                      <a:pt x="776" y="614"/>
                    </a:lnTo>
                    <a:lnTo>
                      <a:pt x="772" y="604"/>
                    </a:lnTo>
                    <a:lnTo>
                      <a:pt x="772" y="594"/>
                    </a:lnTo>
                    <a:lnTo>
                      <a:pt x="772" y="182"/>
                    </a:lnTo>
                    <a:lnTo>
                      <a:pt x="714" y="182"/>
                    </a:lnTo>
                    <a:lnTo>
                      <a:pt x="714" y="594"/>
                    </a:lnTo>
                    <a:lnTo>
                      <a:pt x="714" y="594"/>
                    </a:lnTo>
                    <a:lnTo>
                      <a:pt x="712" y="604"/>
                    </a:lnTo>
                    <a:lnTo>
                      <a:pt x="710" y="614"/>
                    </a:lnTo>
                    <a:lnTo>
                      <a:pt x="706" y="622"/>
                    </a:lnTo>
                    <a:lnTo>
                      <a:pt x="698" y="630"/>
                    </a:lnTo>
                    <a:lnTo>
                      <a:pt x="690" y="636"/>
                    </a:lnTo>
                    <a:lnTo>
                      <a:pt x="682" y="642"/>
                    </a:lnTo>
                    <a:lnTo>
                      <a:pt x="672" y="644"/>
                    </a:lnTo>
                    <a:lnTo>
                      <a:pt x="662" y="646"/>
                    </a:lnTo>
                    <a:lnTo>
                      <a:pt x="420" y="646"/>
                    </a:lnTo>
                    <a:lnTo>
                      <a:pt x="420" y="646"/>
                    </a:lnTo>
                    <a:lnTo>
                      <a:pt x="410" y="644"/>
                    </a:lnTo>
                    <a:lnTo>
                      <a:pt x="400" y="642"/>
                    </a:lnTo>
                    <a:lnTo>
                      <a:pt x="390" y="636"/>
                    </a:lnTo>
                    <a:lnTo>
                      <a:pt x="384" y="630"/>
                    </a:lnTo>
                    <a:lnTo>
                      <a:pt x="376" y="622"/>
                    </a:lnTo>
                    <a:lnTo>
                      <a:pt x="372" y="614"/>
                    </a:lnTo>
                    <a:lnTo>
                      <a:pt x="368" y="604"/>
                    </a:lnTo>
                    <a:lnTo>
                      <a:pt x="368" y="594"/>
                    </a:lnTo>
                    <a:lnTo>
                      <a:pt x="368" y="322"/>
                    </a:lnTo>
                    <a:lnTo>
                      <a:pt x="310" y="322"/>
                    </a:lnTo>
                    <a:lnTo>
                      <a:pt x="310" y="594"/>
                    </a:lnTo>
                    <a:lnTo>
                      <a:pt x="310" y="594"/>
                    </a:lnTo>
                    <a:lnTo>
                      <a:pt x="310" y="604"/>
                    </a:lnTo>
                    <a:lnTo>
                      <a:pt x="306" y="614"/>
                    </a:lnTo>
                    <a:lnTo>
                      <a:pt x="302" y="622"/>
                    </a:lnTo>
                    <a:lnTo>
                      <a:pt x="296" y="630"/>
                    </a:lnTo>
                    <a:lnTo>
                      <a:pt x="288" y="636"/>
                    </a:lnTo>
                    <a:lnTo>
                      <a:pt x="278" y="642"/>
                    </a:lnTo>
                    <a:lnTo>
                      <a:pt x="268" y="644"/>
                    </a:lnTo>
                    <a:lnTo>
                      <a:pt x="258" y="646"/>
                    </a:lnTo>
                    <a:lnTo>
                      <a:pt x="52" y="646"/>
                    </a:lnTo>
                    <a:lnTo>
                      <a:pt x="52" y="646"/>
                    </a:lnTo>
                    <a:lnTo>
                      <a:pt x="42" y="644"/>
                    </a:lnTo>
                    <a:lnTo>
                      <a:pt x="32" y="642"/>
                    </a:lnTo>
                    <a:lnTo>
                      <a:pt x="24" y="636"/>
                    </a:lnTo>
                    <a:lnTo>
                      <a:pt x="16" y="630"/>
                    </a:lnTo>
                    <a:lnTo>
                      <a:pt x="10" y="622"/>
                    </a:lnTo>
                    <a:lnTo>
                      <a:pt x="4" y="614"/>
                    </a:lnTo>
                    <a:lnTo>
                      <a:pt x="2" y="604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2" y="582"/>
                    </a:lnTo>
                    <a:lnTo>
                      <a:pt x="4" y="572"/>
                    </a:lnTo>
                    <a:lnTo>
                      <a:pt x="10" y="564"/>
                    </a:lnTo>
                    <a:lnTo>
                      <a:pt x="16" y="556"/>
                    </a:lnTo>
                    <a:lnTo>
                      <a:pt x="24" y="550"/>
                    </a:lnTo>
                    <a:lnTo>
                      <a:pt x="32" y="544"/>
                    </a:lnTo>
                    <a:lnTo>
                      <a:pt x="42" y="542"/>
                    </a:lnTo>
                    <a:lnTo>
                      <a:pt x="52" y="540"/>
                    </a:lnTo>
                    <a:lnTo>
                      <a:pt x="206" y="540"/>
                    </a:lnTo>
                    <a:lnTo>
                      <a:pt x="206" y="292"/>
                    </a:lnTo>
                    <a:lnTo>
                      <a:pt x="206" y="292"/>
                    </a:lnTo>
                    <a:lnTo>
                      <a:pt x="208" y="278"/>
                    </a:lnTo>
                    <a:lnTo>
                      <a:pt x="212" y="264"/>
                    </a:lnTo>
                    <a:lnTo>
                      <a:pt x="218" y="250"/>
                    </a:lnTo>
                    <a:lnTo>
                      <a:pt x="228" y="240"/>
                    </a:lnTo>
                    <a:lnTo>
                      <a:pt x="238" y="230"/>
                    </a:lnTo>
                    <a:lnTo>
                      <a:pt x="252" y="224"/>
                    </a:lnTo>
                    <a:lnTo>
                      <a:pt x="266" y="218"/>
                    </a:lnTo>
                    <a:lnTo>
                      <a:pt x="28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412" y="218"/>
                    </a:lnTo>
                    <a:lnTo>
                      <a:pt x="426" y="224"/>
                    </a:lnTo>
                    <a:lnTo>
                      <a:pt x="440" y="230"/>
                    </a:lnTo>
                    <a:lnTo>
                      <a:pt x="450" y="240"/>
                    </a:lnTo>
                    <a:lnTo>
                      <a:pt x="460" y="250"/>
                    </a:lnTo>
                    <a:lnTo>
                      <a:pt x="466" y="264"/>
                    </a:lnTo>
                    <a:lnTo>
                      <a:pt x="472" y="278"/>
                    </a:lnTo>
                    <a:lnTo>
                      <a:pt x="472" y="292"/>
                    </a:lnTo>
                    <a:lnTo>
                      <a:pt x="472" y="540"/>
                    </a:lnTo>
                    <a:lnTo>
                      <a:pt x="608" y="540"/>
                    </a:lnTo>
                    <a:lnTo>
                      <a:pt x="608" y="152"/>
                    </a:lnTo>
                    <a:lnTo>
                      <a:pt x="608" y="152"/>
                    </a:lnTo>
                    <a:lnTo>
                      <a:pt x="610" y="136"/>
                    </a:lnTo>
                    <a:lnTo>
                      <a:pt x="614" y="122"/>
                    </a:lnTo>
                    <a:lnTo>
                      <a:pt x="622" y="110"/>
                    </a:lnTo>
                    <a:lnTo>
                      <a:pt x="632" y="98"/>
                    </a:lnTo>
                    <a:lnTo>
                      <a:pt x="642" y="90"/>
                    </a:lnTo>
                    <a:lnTo>
                      <a:pt x="654" y="82"/>
                    </a:lnTo>
                    <a:lnTo>
                      <a:pt x="668" y="78"/>
                    </a:lnTo>
                    <a:lnTo>
                      <a:pt x="684" y="76"/>
                    </a:lnTo>
                    <a:lnTo>
                      <a:pt x="800" y="76"/>
                    </a:lnTo>
                    <a:lnTo>
                      <a:pt x="800" y="76"/>
                    </a:lnTo>
                    <a:lnTo>
                      <a:pt x="816" y="78"/>
                    </a:lnTo>
                    <a:lnTo>
                      <a:pt x="830" y="82"/>
                    </a:lnTo>
                    <a:lnTo>
                      <a:pt x="842" y="90"/>
                    </a:lnTo>
                    <a:lnTo>
                      <a:pt x="854" y="98"/>
                    </a:lnTo>
                    <a:lnTo>
                      <a:pt x="864" y="110"/>
                    </a:lnTo>
                    <a:lnTo>
                      <a:pt x="870" y="122"/>
                    </a:lnTo>
                    <a:lnTo>
                      <a:pt x="874" y="136"/>
                    </a:lnTo>
                    <a:lnTo>
                      <a:pt x="876" y="152"/>
                    </a:lnTo>
                    <a:lnTo>
                      <a:pt x="876" y="540"/>
                    </a:lnTo>
                    <a:lnTo>
                      <a:pt x="1012" y="540"/>
                    </a:lnTo>
                    <a:lnTo>
                      <a:pt x="1012" y="76"/>
                    </a:lnTo>
                    <a:lnTo>
                      <a:pt x="1012" y="76"/>
                    </a:lnTo>
                    <a:lnTo>
                      <a:pt x="1014" y="60"/>
                    </a:lnTo>
                    <a:lnTo>
                      <a:pt x="1018" y="46"/>
                    </a:lnTo>
                    <a:lnTo>
                      <a:pt x="1026" y="34"/>
                    </a:lnTo>
                    <a:lnTo>
                      <a:pt x="1034" y="22"/>
                    </a:lnTo>
                    <a:lnTo>
                      <a:pt x="1046" y="12"/>
                    </a:lnTo>
                    <a:lnTo>
                      <a:pt x="1058" y="6"/>
                    </a:lnTo>
                    <a:lnTo>
                      <a:pt x="1072" y="2"/>
                    </a:lnTo>
                    <a:lnTo>
                      <a:pt x="1088" y="0"/>
                    </a:lnTo>
                    <a:lnTo>
                      <a:pt x="1204" y="0"/>
                    </a:lnTo>
                    <a:lnTo>
                      <a:pt x="1204" y="0"/>
                    </a:lnTo>
                    <a:lnTo>
                      <a:pt x="1220" y="2"/>
                    </a:lnTo>
                    <a:lnTo>
                      <a:pt x="1234" y="6"/>
                    </a:lnTo>
                    <a:lnTo>
                      <a:pt x="1246" y="12"/>
                    </a:lnTo>
                    <a:lnTo>
                      <a:pt x="1258" y="22"/>
                    </a:lnTo>
                    <a:lnTo>
                      <a:pt x="1266" y="34"/>
                    </a:lnTo>
                    <a:lnTo>
                      <a:pt x="1274" y="46"/>
                    </a:lnTo>
                    <a:lnTo>
                      <a:pt x="1278" y="60"/>
                    </a:lnTo>
                    <a:lnTo>
                      <a:pt x="1280" y="76"/>
                    </a:lnTo>
                    <a:lnTo>
                      <a:pt x="1280" y="540"/>
                    </a:lnTo>
                    <a:lnTo>
                      <a:pt x="1332" y="540"/>
                    </a:lnTo>
                    <a:lnTo>
                      <a:pt x="1332" y="540"/>
                    </a:lnTo>
                    <a:lnTo>
                      <a:pt x="1342" y="542"/>
                    </a:lnTo>
                    <a:lnTo>
                      <a:pt x="1352" y="544"/>
                    </a:lnTo>
                    <a:lnTo>
                      <a:pt x="1362" y="550"/>
                    </a:lnTo>
                    <a:lnTo>
                      <a:pt x="1370" y="556"/>
                    </a:lnTo>
                    <a:lnTo>
                      <a:pt x="1376" y="564"/>
                    </a:lnTo>
                    <a:lnTo>
                      <a:pt x="1380" y="572"/>
                    </a:lnTo>
                    <a:lnTo>
                      <a:pt x="1384" y="582"/>
                    </a:lnTo>
                    <a:lnTo>
                      <a:pt x="1384" y="594"/>
                    </a:lnTo>
                    <a:lnTo>
                      <a:pt x="1384" y="594"/>
                    </a:lnTo>
                    <a:lnTo>
                      <a:pt x="1384" y="604"/>
                    </a:lnTo>
                    <a:lnTo>
                      <a:pt x="1380" y="614"/>
                    </a:lnTo>
                    <a:lnTo>
                      <a:pt x="1376" y="622"/>
                    </a:lnTo>
                    <a:lnTo>
                      <a:pt x="1370" y="630"/>
                    </a:lnTo>
                    <a:lnTo>
                      <a:pt x="1362" y="636"/>
                    </a:lnTo>
                    <a:lnTo>
                      <a:pt x="1352" y="642"/>
                    </a:lnTo>
                    <a:lnTo>
                      <a:pt x="1342" y="644"/>
                    </a:lnTo>
                    <a:lnTo>
                      <a:pt x="1332" y="646"/>
                    </a:lnTo>
                    <a:lnTo>
                      <a:pt x="1332" y="64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6"/>
              <p:cNvSpPr>
                <a:spLocks noEditPoints="1"/>
              </p:cNvSpPr>
              <p:nvPr/>
            </p:nvSpPr>
            <p:spPr bwMode="auto">
              <a:xfrm>
                <a:off x="5757683" y="2925113"/>
                <a:ext cx="184112" cy="184112"/>
              </a:xfrm>
              <a:custGeom>
                <a:avLst/>
                <a:gdLst>
                  <a:gd name="T0" fmla="*/ 152 w 304"/>
                  <a:gd name="T1" fmla="*/ 304 h 304"/>
                  <a:gd name="T2" fmla="*/ 122 w 304"/>
                  <a:gd name="T3" fmla="*/ 302 h 304"/>
                  <a:gd name="T4" fmla="*/ 92 w 304"/>
                  <a:gd name="T5" fmla="*/ 292 h 304"/>
                  <a:gd name="T6" fmla="*/ 66 w 304"/>
                  <a:gd name="T7" fmla="*/ 278 h 304"/>
                  <a:gd name="T8" fmla="*/ 44 w 304"/>
                  <a:gd name="T9" fmla="*/ 260 h 304"/>
                  <a:gd name="T10" fmla="*/ 26 w 304"/>
                  <a:gd name="T11" fmla="*/ 238 h 304"/>
                  <a:gd name="T12" fmla="*/ 12 w 304"/>
                  <a:gd name="T13" fmla="*/ 212 h 304"/>
                  <a:gd name="T14" fmla="*/ 2 w 304"/>
                  <a:gd name="T15" fmla="*/ 182 h 304"/>
                  <a:gd name="T16" fmla="*/ 0 w 304"/>
                  <a:gd name="T17" fmla="*/ 152 h 304"/>
                  <a:gd name="T18" fmla="*/ 0 w 304"/>
                  <a:gd name="T19" fmla="*/ 136 h 304"/>
                  <a:gd name="T20" fmla="*/ 6 w 304"/>
                  <a:gd name="T21" fmla="*/ 106 h 304"/>
                  <a:gd name="T22" fmla="*/ 18 w 304"/>
                  <a:gd name="T23" fmla="*/ 80 h 304"/>
                  <a:gd name="T24" fmla="*/ 34 w 304"/>
                  <a:gd name="T25" fmla="*/ 56 h 304"/>
                  <a:gd name="T26" fmla="*/ 56 w 304"/>
                  <a:gd name="T27" fmla="*/ 34 h 304"/>
                  <a:gd name="T28" fmla="*/ 80 w 304"/>
                  <a:gd name="T29" fmla="*/ 18 h 304"/>
                  <a:gd name="T30" fmla="*/ 106 w 304"/>
                  <a:gd name="T31" fmla="*/ 6 h 304"/>
                  <a:gd name="T32" fmla="*/ 136 w 304"/>
                  <a:gd name="T33" fmla="*/ 0 h 304"/>
                  <a:gd name="T34" fmla="*/ 152 w 304"/>
                  <a:gd name="T35" fmla="*/ 0 h 304"/>
                  <a:gd name="T36" fmla="*/ 182 w 304"/>
                  <a:gd name="T37" fmla="*/ 2 h 304"/>
                  <a:gd name="T38" fmla="*/ 212 w 304"/>
                  <a:gd name="T39" fmla="*/ 12 h 304"/>
                  <a:gd name="T40" fmla="*/ 238 w 304"/>
                  <a:gd name="T41" fmla="*/ 26 h 304"/>
                  <a:gd name="T42" fmla="*/ 260 w 304"/>
                  <a:gd name="T43" fmla="*/ 44 h 304"/>
                  <a:gd name="T44" fmla="*/ 278 w 304"/>
                  <a:gd name="T45" fmla="*/ 66 h 304"/>
                  <a:gd name="T46" fmla="*/ 292 w 304"/>
                  <a:gd name="T47" fmla="*/ 92 h 304"/>
                  <a:gd name="T48" fmla="*/ 302 w 304"/>
                  <a:gd name="T49" fmla="*/ 122 h 304"/>
                  <a:gd name="T50" fmla="*/ 304 w 304"/>
                  <a:gd name="T51" fmla="*/ 152 h 304"/>
                  <a:gd name="T52" fmla="*/ 304 w 304"/>
                  <a:gd name="T53" fmla="*/ 168 h 304"/>
                  <a:gd name="T54" fmla="*/ 298 w 304"/>
                  <a:gd name="T55" fmla="*/ 198 h 304"/>
                  <a:gd name="T56" fmla="*/ 286 w 304"/>
                  <a:gd name="T57" fmla="*/ 224 h 304"/>
                  <a:gd name="T58" fmla="*/ 270 w 304"/>
                  <a:gd name="T59" fmla="*/ 250 h 304"/>
                  <a:gd name="T60" fmla="*/ 250 w 304"/>
                  <a:gd name="T61" fmla="*/ 270 h 304"/>
                  <a:gd name="T62" fmla="*/ 224 w 304"/>
                  <a:gd name="T63" fmla="*/ 286 h 304"/>
                  <a:gd name="T64" fmla="*/ 198 w 304"/>
                  <a:gd name="T65" fmla="*/ 298 h 304"/>
                  <a:gd name="T66" fmla="*/ 168 w 304"/>
                  <a:gd name="T67" fmla="*/ 304 h 304"/>
                  <a:gd name="T68" fmla="*/ 152 w 304"/>
                  <a:gd name="T69" fmla="*/ 304 h 304"/>
                  <a:gd name="T70" fmla="*/ 152 w 304"/>
                  <a:gd name="T71" fmla="*/ 104 h 304"/>
                  <a:gd name="T72" fmla="*/ 134 w 304"/>
                  <a:gd name="T73" fmla="*/ 108 h 304"/>
                  <a:gd name="T74" fmla="*/ 118 w 304"/>
                  <a:gd name="T75" fmla="*/ 118 h 304"/>
                  <a:gd name="T76" fmla="*/ 108 w 304"/>
                  <a:gd name="T77" fmla="*/ 134 h 304"/>
                  <a:gd name="T78" fmla="*/ 104 w 304"/>
                  <a:gd name="T79" fmla="*/ 152 h 304"/>
                  <a:gd name="T80" fmla="*/ 106 w 304"/>
                  <a:gd name="T81" fmla="*/ 162 h 304"/>
                  <a:gd name="T82" fmla="*/ 112 w 304"/>
                  <a:gd name="T83" fmla="*/ 178 h 304"/>
                  <a:gd name="T84" fmla="*/ 126 w 304"/>
                  <a:gd name="T85" fmla="*/ 192 h 304"/>
                  <a:gd name="T86" fmla="*/ 142 w 304"/>
                  <a:gd name="T87" fmla="*/ 198 h 304"/>
                  <a:gd name="T88" fmla="*/ 152 w 304"/>
                  <a:gd name="T89" fmla="*/ 200 h 304"/>
                  <a:gd name="T90" fmla="*/ 170 w 304"/>
                  <a:gd name="T91" fmla="*/ 196 h 304"/>
                  <a:gd name="T92" fmla="*/ 186 w 304"/>
                  <a:gd name="T93" fmla="*/ 186 h 304"/>
                  <a:gd name="T94" fmla="*/ 196 w 304"/>
                  <a:gd name="T95" fmla="*/ 170 h 304"/>
                  <a:gd name="T96" fmla="*/ 200 w 304"/>
                  <a:gd name="T97" fmla="*/ 152 h 304"/>
                  <a:gd name="T98" fmla="*/ 198 w 304"/>
                  <a:gd name="T99" fmla="*/ 142 h 304"/>
                  <a:gd name="T100" fmla="*/ 192 w 304"/>
                  <a:gd name="T101" fmla="*/ 126 h 304"/>
                  <a:gd name="T102" fmla="*/ 178 w 304"/>
                  <a:gd name="T103" fmla="*/ 112 h 304"/>
                  <a:gd name="T104" fmla="*/ 162 w 304"/>
                  <a:gd name="T105" fmla="*/ 106 h 304"/>
                  <a:gd name="T106" fmla="*/ 152 w 304"/>
                  <a:gd name="T107" fmla="*/ 1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4">
                    <a:moveTo>
                      <a:pt x="152" y="304"/>
                    </a:moveTo>
                    <a:lnTo>
                      <a:pt x="152" y="304"/>
                    </a:lnTo>
                    <a:lnTo>
                      <a:pt x="136" y="304"/>
                    </a:lnTo>
                    <a:lnTo>
                      <a:pt x="122" y="302"/>
                    </a:lnTo>
                    <a:lnTo>
                      <a:pt x="106" y="298"/>
                    </a:lnTo>
                    <a:lnTo>
                      <a:pt x="92" y="292"/>
                    </a:lnTo>
                    <a:lnTo>
                      <a:pt x="80" y="286"/>
                    </a:lnTo>
                    <a:lnTo>
                      <a:pt x="66" y="278"/>
                    </a:lnTo>
                    <a:lnTo>
                      <a:pt x="56" y="270"/>
                    </a:lnTo>
                    <a:lnTo>
                      <a:pt x="44" y="260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4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2"/>
                    </a:lnTo>
                    <a:lnTo>
                      <a:pt x="0" y="16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6" y="106"/>
                    </a:lnTo>
                    <a:lnTo>
                      <a:pt x="12" y="92"/>
                    </a:lnTo>
                    <a:lnTo>
                      <a:pt x="18" y="80"/>
                    </a:lnTo>
                    <a:lnTo>
                      <a:pt x="26" y="66"/>
                    </a:lnTo>
                    <a:lnTo>
                      <a:pt x="34" y="56"/>
                    </a:lnTo>
                    <a:lnTo>
                      <a:pt x="44" y="44"/>
                    </a:lnTo>
                    <a:lnTo>
                      <a:pt x="56" y="34"/>
                    </a:lnTo>
                    <a:lnTo>
                      <a:pt x="66" y="26"/>
                    </a:lnTo>
                    <a:lnTo>
                      <a:pt x="80" y="18"/>
                    </a:lnTo>
                    <a:lnTo>
                      <a:pt x="92" y="12"/>
                    </a:lnTo>
                    <a:lnTo>
                      <a:pt x="106" y="6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8" y="6"/>
                    </a:lnTo>
                    <a:lnTo>
                      <a:pt x="212" y="12"/>
                    </a:lnTo>
                    <a:lnTo>
                      <a:pt x="224" y="18"/>
                    </a:lnTo>
                    <a:lnTo>
                      <a:pt x="238" y="26"/>
                    </a:lnTo>
                    <a:lnTo>
                      <a:pt x="250" y="34"/>
                    </a:lnTo>
                    <a:lnTo>
                      <a:pt x="260" y="44"/>
                    </a:lnTo>
                    <a:lnTo>
                      <a:pt x="270" y="56"/>
                    </a:lnTo>
                    <a:lnTo>
                      <a:pt x="278" y="66"/>
                    </a:lnTo>
                    <a:lnTo>
                      <a:pt x="286" y="80"/>
                    </a:lnTo>
                    <a:lnTo>
                      <a:pt x="292" y="92"/>
                    </a:lnTo>
                    <a:lnTo>
                      <a:pt x="298" y="106"/>
                    </a:lnTo>
                    <a:lnTo>
                      <a:pt x="302" y="122"/>
                    </a:lnTo>
                    <a:lnTo>
                      <a:pt x="304" y="136"/>
                    </a:lnTo>
                    <a:lnTo>
                      <a:pt x="304" y="152"/>
                    </a:lnTo>
                    <a:lnTo>
                      <a:pt x="304" y="152"/>
                    </a:lnTo>
                    <a:lnTo>
                      <a:pt x="304" y="168"/>
                    </a:lnTo>
                    <a:lnTo>
                      <a:pt x="302" y="182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4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0"/>
                    </a:lnTo>
                    <a:lnTo>
                      <a:pt x="250" y="270"/>
                    </a:lnTo>
                    <a:lnTo>
                      <a:pt x="238" y="278"/>
                    </a:lnTo>
                    <a:lnTo>
                      <a:pt x="224" y="286"/>
                    </a:lnTo>
                    <a:lnTo>
                      <a:pt x="212" y="292"/>
                    </a:lnTo>
                    <a:lnTo>
                      <a:pt x="198" y="298"/>
                    </a:lnTo>
                    <a:lnTo>
                      <a:pt x="182" y="302"/>
                    </a:lnTo>
                    <a:lnTo>
                      <a:pt x="168" y="304"/>
                    </a:lnTo>
                    <a:lnTo>
                      <a:pt x="152" y="304"/>
                    </a:lnTo>
                    <a:lnTo>
                      <a:pt x="152" y="304"/>
                    </a:lnTo>
                    <a:close/>
                    <a:moveTo>
                      <a:pt x="152" y="104"/>
                    </a:moveTo>
                    <a:lnTo>
                      <a:pt x="152" y="104"/>
                    </a:lnTo>
                    <a:lnTo>
                      <a:pt x="142" y="106"/>
                    </a:lnTo>
                    <a:lnTo>
                      <a:pt x="134" y="108"/>
                    </a:lnTo>
                    <a:lnTo>
                      <a:pt x="126" y="112"/>
                    </a:lnTo>
                    <a:lnTo>
                      <a:pt x="118" y="118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6" y="162"/>
                    </a:lnTo>
                    <a:lnTo>
                      <a:pt x="108" y="170"/>
                    </a:lnTo>
                    <a:lnTo>
                      <a:pt x="112" y="178"/>
                    </a:lnTo>
                    <a:lnTo>
                      <a:pt x="118" y="186"/>
                    </a:lnTo>
                    <a:lnTo>
                      <a:pt x="126" y="192"/>
                    </a:lnTo>
                    <a:lnTo>
                      <a:pt x="134" y="196"/>
                    </a:lnTo>
                    <a:lnTo>
                      <a:pt x="142" y="198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62" y="198"/>
                    </a:lnTo>
                    <a:lnTo>
                      <a:pt x="170" y="196"/>
                    </a:lnTo>
                    <a:lnTo>
                      <a:pt x="178" y="192"/>
                    </a:lnTo>
                    <a:lnTo>
                      <a:pt x="186" y="186"/>
                    </a:lnTo>
                    <a:lnTo>
                      <a:pt x="192" y="178"/>
                    </a:lnTo>
                    <a:lnTo>
                      <a:pt x="196" y="170"/>
                    </a:lnTo>
                    <a:lnTo>
                      <a:pt x="198" y="162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98" y="142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18"/>
                    </a:lnTo>
                    <a:lnTo>
                      <a:pt x="178" y="112"/>
                    </a:lnTo>
                    <a:lnTo>
                      <a:pt x="170" y="108"/>
                    </a:lnTo>
                    <a:lnTo>
                      <a:pt x="162" y="106"/>
                    </a:lnTo>
                    <a:lnTo>
                      <a:pt x="152" y="104"/>
                    </a:lnTo>
                    <a:lnTo>
                      <a:pt x="152" y="104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7"/>
              <p:cNvSpPr>
                <a:spLocks noEditPoints="1"/>
              </p:cNvSpPr>
              <p:nvPr/>
            </p:nvSpPr>
            <p:spPr bwMode="auto">
              <a:xfrm>
                <a:off x="6002359" y="2994156"/>
                <a:ext cx="184112" cy="185323"/>
              </a:xfrm>
              <a:custGeom>
                <a:avLst/>
                <a:gdLst>
                  <a:gd name="T0" fmla="*/ 152 w 304"/>
                  <a:gd name="T1" fmla="*/ 306 h 306"/>
                  <a:gd name="T2" fmla="*/ 120 w 304"/>
                  <a:gd name="T3" fmla="*/ 302 h 306"/>
                  <a:gd name="T4" fmla="*/ 92 w 304"/>
                  <a:gd name="T5" fmla="*/ 294 h 306"/>
                  <a:gd name="T6" fmla="*/ 66 w 304"/>
                  <a:gd name="T7" fmla="*/ 280 h 306"/>
                  <a:gd name="T8" fmla="*/ 44 w 304"/>
                  <a:gd name="T9" fmla="*/ 262 h 306"/>
                  <a:gd name="T10" fmla="*/ 26 w 304"/>
                  <a:gd name="T11" fmla="*/ 238 h 306"/>
                  <a:gd name="T12" fmla="*/ 12 w 304"/>
                  <a:gd name="T13" fmla="*/ 212 h 306"/>
                  <a:gd name="T14" fmla="*/ 2 w 304"/>
                  <a:gd name="T15" fmla="*/ 184 h 306"/>
                  <a:gd name="T16" fmla="*/ 0 w 304"/>
                  <a:gd name="T17" fmla="*/ 154 h 306"/>
                  <a:gd name="T18" fmla="*/ 0 w 304"/>
                  <a:gd name="T19" fmla="*/ 138 h 306"/>
                  <a:gd name="T20" fmla="*/ 6 w 304"/>
                  <a:gd name="T21" fmla="*/ 108 h 306"/>
                  <a:gd name="T22" fmla="*/ 18 w 304"/>
                  <a:gd name="T23" fmla="*/ 80 h 306"/>
                  <a:gd name="T24" fmla="*/ 34 w 304"/>
                  <a:gd name="T25" fmla="*/ 56 h 306"/>
                  <a:gd name="T26" fmla="*/ 54 w 304"/>
                  <a:gd name="T27" fmla="*/ 36 h 306"/>
                  <a:gd name="T28" fmla="*/ 78 w 304"/>
                  <a:gd name="T29" fmla="*/ 20 h 306"/>
                  <a:gd name="T30" fmla="*/ 106 w 304"/>
                  <a:gd name="T31" fmla="*/ 8 h 306"/>
                  <a:gd name="T32" fmla="*/ 136 w 304"/>
                  <a:gd name="T33" fmla="*/ 2 h 306"/>
                  <a:gd name="T34" fmla="*/ 152 w 304"/>
                  <a:gd name="T35" fmla="*/ 0 h 306"/>
                  <a:gd name="T36" fmla="*/ 182 w 304"/>
                  <a:gd name="T37" fmla="*/ 4 h 306"/>
                  <a:gd name="T38" fmla="*/ 212 w 304"/>
                  <a:gd name="T39" fmla="*/ 12 h 306"/>
                  <a:gd name="T40" fmla="*/ 236 w 304"/>
                  <a:gd name="T41" fmla="*/ 26 h 306"/>
                  <a:gd name="T42" fmla="*/ 260 w 304"/>
                  <a:gd name="T43" fmla="*/ 46 h 306"/>
                  <a:gd name="T44" fmla="*/ 278 w 304"/>
                  <a:gd name="T45" fmla="*/ 68 h 306"/>
                  <a:gd name="T46" fmla="*/ 292 w 304"/>
                  <a:gd name="T47" fmla="*/ 94 h 306"/>
                  <a:gd name="T48" fmla="*/ 302 w 304"/>
                  <a:gd name="T49" fmla="*/ 122 h 306"/>
                  <a:gd name="T50" fmla="*/ 304 w 304"/>
                  <a:gd name="T51" fmla="*/ 154 h 306"/>
                  <a:gd name="T52" fmla="*/ 304 w 304"/>
                  <a:gd name="T53" fmla="*/ 168 h 306"/>
                  <a:gd name="T54" fmla="*/ 298 w 304"/>
                  <a:gd name="T55" fmla="*/ 198 h 306"/>
                  <a:gd name="T56" fmla="*/ 286 w 304"/>
                  <a:gd name="T57" fmla="*/ 226 h 306"/>
                  <a:gd name="T58" fmla="*/ 270 w 304"/>
                  <a:gd name="T59" fmla="*/ 250 h 306"/>
                  <a:gd name="T60" fmla="*/ 248 w 304"/>
                  <a:gd name="T61" fmla="*/ 272 h 306"/>
                  <a:gd name="T62" fmla="*/ 224 w 304"/>
                  <a:gd name="T63" fmla="*/ 288 h 306"/>
                  <a:gd name="T64" fmla="*/ 198 w 304"/>
                  <a:gd name="T65" fmla="*/ 300 h 306"/>
                  <a:gd name="T66" fmla="*/ 168 w 304"/>
                  <a:gd name="T67" fmla="*/ 306 h 306"/>
                  <a:gd name="T68" fmla="*/ 152 w 304"/>
                  <a:gd name="T69" fmla="*/ 306 h 306"/>
                  <a:gd name="T70" fmla="*/ 152 w 304"/>
                  <a:gd name="T71" fmla="*/ 106 h 306"/>
                  <a:gd name="T72" fmla="*/ 134 w 304"/>
                  <a:gd name="T73" fmla="*/ 110 h 306"/>
                  <a:gd name="T74" fmla="*/ 118 w 304"/>
                  <a:gd name="T75" fmla="*/ 120 h 306"/>
                  <a:gd name="T76" fmla="*/ 108 w 304"/>
                  <a:gd name="T77" fmla="*/ 134 h 306"/>
                  <a:gd name="T78" fmla="*/ 104 w 304"/>
                  <a:gd name="T79" fmla="*/ 154 h 306"/>
                  <a:gd name="T80" fmla="*/ 106 w 304"/>
                  <a:gd name="T81" fmla="*/ 164 h 306"/>
                  <a:gd name="T82" fmla="*/ 112 w 304"/>
                  <a:gd name="T83" fmla="*/ 180 h 306"/>
                  <a:gd name="T84" fmla="*/ 126 w 304"/>
                  <a:gd name="T85" fmla="*/ 192 h 306"/>
                  <a:gd name="T86" fmla="*/ 142 w 304"/>
                  <a:gd name="T87" fmla="*/ 200 h 306"/>
                  <a:gd name="T88" fmla="*/ 152 w 304"/>
                  <a:gd name="T89" fmla="*/ 202 h 306"/>
                  <a:gd name="T90" fmla="*/ 170 w 304"/>
                  <a:gd name="T91" fmla="*/ 198 h 306"/>
                  <a:gd name="T92" fmla="*/ 186 w 304"/>
                  <a:gd name="T93" fmla="*/ 188 h 306"/>
                  <a:gd name="T94" fmla="*/ 196 w 304"/>
                  <a:gd name="T95" fmla="*/ 172 h 306"/>
                  <a:gd name="T96" fmla="*/ 200 w 304"/>
                  <a:gd name="T97" fmla="*/ 154 h 306"/>
                  <a:gd name="T98" fmla="*/ 198 w 304"/>
                  <a:gd name="T99" fmla="*/ 144 h 306"/>
                  <a:gd name="T100" fmla="*/ 192 w 304"/>
                  <a:gd name="T101" fmla="*/ 126 h 306"/>
                  <a:gd name="T102" fmla="*/ 178 w 304"/>
                  <a:gd name="T103" fmla="*/ 114 h 306"/>
                  <a:gd name="T104" fmla="*/ 162 w 304"/>
                  <a:gd name="T105" fmla="*/ 106 h 306"/>
                  <a:gd name="T106" fmla="*/ 152 w 304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6">
                    <a:moveTo>
                      <a:pt x="152" y="306"/>
                    </a:moveTo>
                    <a:lnTo>
                      <a:pt x="152" y="306"/>
                    </a:lnTo>
                    <a:lnTo>
                      <a:pt x="136" y="306"/>
                    </a:lnTo>
                    <a:lnTo>
                      <a:pt x="120" y="302"/>
                    </a:lnTo>
                    <a:lnTo>
                      <a:pt x="106" y="300"/>
                    </a:lnTo>
                    <a:lnTo>
                      <a:pt x="92" y="294"/>
                    </a:lnTo>
                    <a:lnTo>
                      <a:pt x="78" y="288"/>
                    </a:lnTo>
                    <a:lnTo>
                      <a:pt x="66" y="280"/>
                    </a:lnTo>
                    <a:lnTo>
                      <a:pt x="54" y="272"/>
                    </a:lnTo>
                    <a:lnTo>
                      <a:pt x="44" y="262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4"/>
                    </a:lnTo>
                    <a:lnTo>
                      <a:pt x="0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2"/>
                    </a:lnTo>
                    <a:lnTo>
                      <a:pt x="6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4" y="56"/>
                    </a:lnTo>
                    <a:lnTo>
                      <a:pt x="44" y="46"/>
                    </a:lnTo>
                    <a:lnTo>
                      <a:pt x="54" y="36"/>
                    </a:lnTo>
                    <a:lnTo>
                      <a:pt x="66" y="26"/>
                    </a:lnTo>
                    <a:lnTo>
                      <a:pt x="78" y="20"/>
                    </a:lnTo>
                    <a:lnTo>
                      <a:pt x="92" y="12"/>
                    </a:lnTo>
                    <a:lnTo>
                      <a:pt x="106" y="8"/>
                    </a:lnTo>
                    <a:lnTo>
                      <a:pt x="120" y="4"/>
                    </a:lnTo>
                    <a:lnTo>
                      <a:pt x="136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4" y="20"/>
                    </a:lnTo>
                    <a:lnTo>
                      <a:pt x="236" y="26"/>
                    </a:lnTo>
                    <a:lnTo>
                      <a:pt x="248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78" y="68"/>
                    </a:lnTo>
                    <a:lnTo>
                      <a:pt x="286" y="80"/>
                    </a:lnTo>
                    <a:lnTo>
                      <a:pt x="292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4" y="154"/>
                    </a:lnTo>
                    <a:lnTo>
                      <a:pt x="304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6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48" y="272"/>
                    </a:lnTo>
                    <a:lnTo>
                      <a:pt x="236" y="280"/>
                    </a:lnTo>
                    <a:lnTo>
                      <a:pt x="224" y="288"/>
                    </a:lnTo>
                    <a:lnTo>
                      <a:pt x="212" y="294"/>
                    </a:lnTo>
                    <a:lnTo>
                      <a:pt x="198" y="300"/>
                    </a:lnTo>
                    <a:lnTo>
                      <a:pt x="182" y="302"/>
                    </a:lnTo>
                    <a:lnTo>
                      <a:pt x="168" y="306"/>
                    </a:lnTo>
                    <a:lnTo>
                      <a:pt x="152" y="306"/>
                    </a:lnTo>
                    <a:lnTo>
                      <a:pt x="152" y="306"/>
                    </a:lnTo>
                    <a:close/>
                    <a:moveTo>
                      <a:pt x="152" y="106"/>
                    </a:moveTo>
                    <a:lnTo>
                      <a:pt x="152" y="106"/>
                    </a:lnTo>
                    <a:lnTo>
                      <a:pt x="142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18" y="120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6" y="164"/>
                    </a:lnTo>
                    <a:lnTo>
                      <a:pt x="108" y="172"/>
                    </a:lnTo>
                    <a:lnTo>
                      <a:pt x="112" y="180"/>
                    </a:lnTo>
                    <a:lnTo>
                      <a:pt x="118" y="188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2" y="200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62" y="200"/>
                    </a:lnTo>
                    <a:lnTo>
                      <a:pt x="170" y="198"/>
                    </a:lnTo>
                    <a:lnTo>
                      <a:pt x="178" y="192"/>
                    </a:lnTo>
                    <a:lnTo>
                      <a:pt x="186" y="188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198" y="164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198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78" y="114"/>
                    </a:lnTo>
                    <a:lnTo>
                      <a:pt x="170" y="110"/>
                    </a:lnTo>
                    <a:lnTo>
                      <a:pt x="162" y="106"/>
                    </a:lnTo>
                    <a:lnTo>
                      <a:pt x="152" y="106"/>
                    </a:lnTo>
                    <a:lnTo>
                      <a:pt x="152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8"/>
              <p:cNvSpPr>
                <a:spLocks noEditPoints="1"/>
              </p:cNvSpPr>
              <p:nvPr/>
            </p:nvSpPr>
            <p:spPr bwMode="auto">
              <a:xfrm>
                <a:off x="6245822" y="2850015"/>
                <a:ext cx="185323" cy="185323"/>
              </a:xfrm>
              <a:custGeom>
                <a:avLst/>
                <a:gdLst>
                  <a:gd name="T0" fmla="*/ 154 w 306"/>
                  <a:gd name="T1" fmla="*/ 306 h 306"/>
                  <a:gd name="T2" fmla="*/ 122 w 306"/>
                  <a:gd name="T3" fmla="*/ 302 h 306"/>
                  <a:gd name="T4" fmla="*/ 94 w 306"/>
                  <a:gd name="T5" fmla="*/ 294 h 306"/>
                  <a:gd name="T6" fmla="*/ 68 w 306"/>
                  <a:gd name="T7" fmla="*/ 280 h 306"/>
                  <a:gd name="T8" fmla="*/ 46 w 306"/>
                  <a:gd name="T9" fmla="*/ 262 h 306"/>
                  <a:gd name="T10" fmla="*/ 26 w 306"/>
                  <a:gd name="T11" fmla="*/ 238 h 306"/>
                  <a:gd name="T12" fmla="*/ 12 w 306"/>
                  <a:gd name="T13" fmla="*/ 212 h 306"/>
                  <a:gd name="T14" fmla="*/ 4 w 306"/>
                  <a:gd name="T15" fmla="*/ 184 h 306"/>
                  <a:gd name="T16" fmla="*/ 0 w 306"/>
                  <a:gd name="T17" fmla="*/ 154 h 306"/>
                  <a:gd name="T18" fmla="*/ 2 w 306"/>
                  <a:gd name="T19" fmla="*/ 138 h 306"/>
                  <a:gd name="T20" fmla="*/ 8 w 306"/>
                  <a:gd name="T21" fmla="*/ 108 h 306"/>
                  <a:gd name="T22" fmla="*/ 18 w 306"/>
                  <a:gd name="T23" fmla="*/ 80 h 306"/>
                  <a:gd name="T24" fmla="*/ 36 w 306"/>
                  <a:gd name="T25" fmla="*/ 56 h 306"/>
                  <a:gd name="T26" fmla="*/ 56 w 306"/>
                  <a:gd name="T27" fmla="*/ 36 h 306"/>
                  <a:gd name="T28" fmla="*/ 80 w 306"/>
                  <a:gd name="T29" fmla="*/ 18 h 306"/>
                  <a:gd name="T30" fmla="*/ 108 w 306"/>
                  <a:gd name="T31" fmla="*/ 8 h 306"/>
                  <a:gd name="T32" fmla="*/ 138 w 306"/>
                  <a:gd name="T33" fmla="*/ 2 h 306"/>
                  <a:gd name="T34" fmla="*/ 154 w 306"/>
                  <a:gd name="T35" fmla="*/ 0 h 306"/>
                  <a:gd name="T36" fmla="*/ 184 w 306"/>
                  <a:gd name="T37" fmla="*/ 4 h 306"/>
                  <a:gd name="T38" fmla="*/ 212 w 306"/>
                  <a:gd name="T39" fmla="*/ 12 h 306"/>
                  <a:gd name="T40" fmla="*/ 238 w 306"/>
                  <a:gd name="T41" fmla="*/ 26 h 306"/>
                  <a:gd name="T42" fmla="*/ 260 w 306"/>
                  <a:gd name="T43" fmla="*/ 46 h 306"/>
                  <a:gd name="T44" fmla="*/ 280 w 306"/>
                  <a:gd name="T45" fmla="*/ 68 h 306"/>
                  <a:gd name="T46" fmla="*/ 294 w 306"/>
                  <a:gd name="T47" fmla="*/ 94 h 306"/>
                  <a:gd name="T48" fmla="*/ 302 w 306"/>
                  <a:gd name="T49" fmla="*/ 122 h 306"/>
                  <a:gd name="T50" fmla="*/ 306 w 306"/>
                  <a:gd name="T51" fmla="*/ 154 h 306"/>
                  <a:gd name="T52" fmla="*/ 304 w 306"/>
                  <a:gd name="T53" fmla="*/ 168 h 306"/>
                  <a:gd name="T54" fmla="*/ 298 w 306"/>
                  <a:gd name="T55" fmla="*/ 198 h 306"/>
                  <a:gd name="T56" fmla="*/ 288 w 306"/>
                  <a:gd name="T57" fmla="*/ 226 h 306"/>
                  <a:gd name="T58" fmla="*/ 270 w 306"/>
                  <a:gd name="T59" fmla="*/ 250 h 306"/>
                  <a:gd name="T60" fmla="*/ 250 w 306"/>
                  <a:gd name="T61" fmla="*/ 270 h 306"/>
                  <a:gd name="T62" fmla="*/ 226 w 306"/>
                  <a:gd name="T63" fmla="*/ 288 h 306"/>
                  <a:gd name="T64" fmla="*/ 198 w 306"/>
                  <a:gd name="T65" fmla="*/ 298 h 306"/>
                  <a:gd name="T66" fmla="*/ 168 w 306"/>
                  <a:gd name="T67" fmla="*/ 306 h 306"/>
                  <a:gd name="T68" fmla="*/ 154 w 306"/>
                  <a:gd name="T69" fmla="*/ 306 h 306"/>
                  <a:gd name="T70" fmla="*/ 154 w 306"/>
                  <a:gd name="T71" fmla="*/ 106 h 306"/>
                  <a:gd name="T72" fmla="*/ 134 w 306"/>
                  <a:gd name="T73" fmla="*/ 110 h 306"/>
                  <a:gd name="T74" fmla="*/ 120 w 306"/>
                  <a:gd name="T75" fmla="*/ 120 h 306"/>
                  <a:gd name="T76" fmla="*/ 110 w 306"/>
                  <a:gd name="T77" fmla="*/ 134 h 306"/>
                  <a:gd name="T78" fmla="*/ 106 w 306"/>
                  <a:gd name="T79" fmla="*/ 154 h 306"/>
                  <a:gd name="T80" fmla="*/ 106 w 306"/>
                  <a:gd name="T81" fmla="*/ 162 h 306"/>
                  <a:gd name="T82" fmla="*/ 114 w 306"/>
                  <a:gd name="T83" fmla="*/ 180 h 306"/>
                  <a:gd name="T84" fmla="*/ 126 w 306"/>
                  <a:gd name="T85" fmla="*/ 192 h 306"/>
                  <a:gd name="T86" fmla="*/ 144 w 306"/>
                  <a:gd name="T87" fmla="*/ 200 h 306"/>
                  <a:gd name="T88" fmla="*/ 154 w 306"/>
                  <a:gd name="T89" fmla="*/ 200 h 306"/>
                  <a:gd name="T90" fmla="*/ 172 w 306"/>
                  <a:gd name="T91" fmla="*/ 198 h 306"/>
                  <a:gd name="T92" fmla="*/ 186 w 306"/>
                  <a:gd name="T93" fmla="*/ 186 h 306"/>
                  <a:gd name="T94" fmla="*/ 196 w 306"/>
                  <a:gd name="T95" fmla="*/ 172 h 306"/>
                  <a:gd name="T96" fmla="*/ 200 w 306"/>
                  <a:gd name="T97" fmla="*/ 154 h 306"/>
                  <a:gd name="T98" fmla="*/ 200 w 306"/>
                  <a:gd name="T99" fmla="*/ 144 h 306"/>
                  <a:gd name="T100" fmla="*/ 192 w 306"/>
                  <a:gd name="T101" fmla="*/ 126 h 306"/>
                  <a:gd name="T102" fmla="*/ 180 w 306"/>
                  <a:gd name="T103" fmla="*/ 114 h 306"/>
                  <a:gd name="T104" fmla="*/ 162 w 306"/>
                  <a:gd name="T105" fmla="*/ 106 h 306"/>
                  <a:gd name="T106" fmla="*/ 154 w 306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6" h="306">
                    <a:moveTo>
                      <a:pt x="154" y="306"/>
                    </a:moveTo>
                    <a:lnTo>
                      <a:pt x="154" y="306"/>
                    </a:lnTo>
                    <a:lnTo>
                      <a:pt x="138" y="306"/>
                    </a:lnTo>
                    <a:lnTo>
                      <a:pt x="122" y="302"/>
                    </a:lnTo>
                    <a:lnTo>
                      <a:pt x="108" y="298"/>
                    </a:lnTo>
                    <a:lnTo>
                      <a:pt x="94" y="294"/>
                    </a:lnTo>
                    <a:lnTo>
                      <a:pt x="80" y="288"/>
                    </a:lnTo>
                    <a:lnTo>
                      <a:pt x="68" y="280"/>
                    </a:lnTo>
                    <a:lnTo>
                      <a:pt x="56" y="270"/>
                    </a:lnTo>
                    <a:lnTo>
                      <a:pt x="46" y="262"/>
                    </a:lnTo>
                    <a:lnTo>
                      <a:pt x="36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8" y="198"/>
                    </a:lnTo>
                    <a:lnTo>
                      <a:pt x="4" y="184"/>
                    </a:lnTo>
                    <a:lnTo>
                      <a:pt x="2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2" y="138"/>
                    </a:lnTo>
                    <a:lnTo>
                      <a:pt x="4" y="122"/>
                    </a:lnTo>
                    <a:lnTo>
                      <a:pt x="8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6" y="56"/>
                    </a:lnTo>
                    <a:lnTo>
                      <a:pt x="46" y="46"/>
                    </a:lnTo>
                    <a:lnTo>
                      <a:pt x="56" y="36"/>
                    </a:lnTo>
                    <a:lnTo>
                      <a:pt x="68" y="26"/>
                    </a:lnTo>
                    <a:lnTo>
                      <a:pt x="80" y="18"/>
                    </a:lnTo>
                    <a:lnTo>
                      <a:pt x="94" y="12"/>
                    </a:lnTo>
                    <a:lnTo>
                      <a:pt x="108" y="8"/>
                    </a:lnTo>
                    <a:lnTo>
                      <a:pt x="122" y="4"/>
                    </a:lnTo>
                    <a:lnTo>
                      <a:pt x="138" y="2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4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6" y="18"/>
                    </a:lnTo>
                    <a:lnTo>
                      <a:pt x="238" y="26"/>
                    </a:lnTo>
                    <a:lnTo>
                      <a:pt x="250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80" y="68"/>
                    </a:lnTo>
                    <a:lnTo>
                      <a:pt x="288" y="80"/>
                    </a:lnTo>
                    <a:lnTo>
                      <a:pt x="294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4" y="212"/>
                    </a:lnTo>
                    <a:lnTo>
                      <a:pt x="288" y="226"/>
                    </a:lnTo>
                    <a:lnTo>
                      <a:pt x="280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50" y="270"/>
                    </a:lnTo>
                    <a:lnTo>
                      <a:pt x="238" y="280"/>
                    </a:lnTo>
                    <a:lnTo>
                      <a:pt x="226" y="288"/>
                    </a:lnTo>
                    <a:lnTo>
                      <a:pt x="212" y="294"/>
                    </a:lnTo>
                    <a:lnTo>
                      <a:pt x="198" y="298"/>
                    </a:lnTo>
                    <a:lnTo>
                      <a:pt x="184" y="302"/>
                    </a:lnTo>
                    <a:lnTo>
                      <a:pt x="168" y="306"/>
                    </a:lnTo>
                    <a:lnTo>
                      <a:pt x="154" y="306"/>
                    </a:lnTo>
                    <a:lnTo>
                      <a:pt x="154" y="306"/>
                    </a:lnTo>
                    <a:close/>
                    <a:moveTo>
                      <a:pt x="154" y="106"/>
                    </a:moveTo>
                    <a:lnTo>
                      <a:pt x="154" y="106"/>
                    </a:lnTo>
                    <a:lnTo>
                      <a:pt x="144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20" y="120"/>
                    </a:lnTo>
                    <a:lnTo>
                      <a:pt x="114" y="126"/>
                    </a:lnTo>
                    <a:lnTo>
                      <a:pt x="110" y="134"/>
                    </a:lnTo>
                    <a:lnTo>
                      <a:pt x="106" y="14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62"/>
                    </a:lnTo>
                    <a:lnTo>
                      <a:pt x="110" y="172"/>
                    </a:lnTo>
                    <a:lnTo>
                      <a:pt x="114" y="180"/>
                    </a:lnTo>
                    <a:lnTo>
                      <a:pt x="120" y="186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62" y="200"/>
                    </a:lnTo>
                    <a:lnTo>
                      <a:pt x="172" y="198"/>
                    </a:lnTo>
                    <a:lnTo>
                      <a:pt x="180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200" y="162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200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80" y="114"/>
                    </a:lnTo>
                    <a:lnTo>
                      <a:pt x="172" y="110"/>
                    </a:lnTo>
                    <a:lnTo>
                      <a:pt x="162" y="106"/>
                    </a:lnTo>
                    <a:lnTo>
                      <a:pt x="154" y="106"/>
                    </a:lnTo>
                    <a:lnTo>
                      <a:pt x="154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Freeform 9"/>
              <p:cNvSpPr>
                <a:spLocks/>
              </p:cNvSpPr>
              <p:nvPr/>
            </p:nvSpPr>
            <p:spPr bwMode="auto">
              <a:xfrm>
                <a:off x="5875176" y="3006268"/>
                <a:ext cx="190168" cy="102957"/>
              </a:xfrm>
              <a:custGeom>
                <a:avLst/>
                <a:gdLst>
                  <a:gd name="T0" fmla="*/ 262 w 314"/>
                  <a:gd name="T1" fmla="*/ 170 h 170"/>
                  <a:gd name="T2" fmla="*/ 262 w 314"/>
                  <a:gd name="T3" fmla="*/ 170 h 170"/>
                  <a:gd name="T4" fmla="*/ 254 w 314"/>
                  <a:gd name="T5" fmla="*/ 170 h 170"/>
                  <a:gd name="T6" fmla="*/ 246 w 314"/>
                  <a:gd name="T7" fmla="*/ 168 h 170"/>
                  <a:gd name="T8" fmla="*/ 36 w 314"/>
                  <a:gd name="T9" fmla="*/ 104 h 170"/>
                  <a:gd name="T10" fmla="*/ 36 w 314"/>
                  <a:gd name="T11" fmla="*/ 104 h 170"/>
                  <a:gd name="T12" fmla="*/ 26 w 314"/>
                  <a:gd name="T13" fmla="*/ 100 h 170"/>
                  <a:gd name="T14" fmla="*/ 18 w 314"/>
                  <a:gd name="T15" fmla="*/ 94 h 170"/>
                  <a:gd name="T16" fmla="*/ 10 w 314"/>
                  <a:gd name="T17" fmla="*/ 86 h 170"/>
                  <a:gd name="T18" fmla="*/ 6 w 314"/>
                  <a:gd name="T19" fmla="*/ 78 h 170"/>
                  <a:gd name="T20" fmla="*/ 2 w 314"/>
                  <a:gd name="T21" fmla="*/ 68 h 170"/>
                  <a:gd name="T22" fmla="*/ 0 w 314"/>
                  <a:gd name="T23" fmla="*/ 58 h 170"/>
                  <a:gd name="T24" fmla="*/ 0 w 314"/>
                  <a:gd name="T25" fmla="*/ 48 h 170"/>
                  <a:gd name="T26" fmla="*/ 2 w 314"/>
                  <a:gd name="T27" fmla="*/ 38 h 170"/>
                  <a:gd name="T28" fmla="*/ 2 w 314"/>
                  <a:gd name="T29" fmla="*/ 38 h 170"/>
                  <a:gd name="T30" fmla="*/ 6 w 314"/>
                  <a:gd name="T31" fmla="*/ 28 h 170"/>
                  <a:gd name="T32" fmla="*/ 12 w 314"/>
                  <a:gd name="T33" fmla="*/ 20 h 170"/>
                  <a:gd name="T34" fmla="*/ 18 w 314"/>
                  <a:gd name="T35" fmla="*/ 12 h 170"/>
                  <a:gd name="T36" fmla="*/ 28 w 314"/>
                  <a:gd name="T37" fmla="*/ 6 h 170"/>
                  <a:gd name="T38" fmla="*/ 36 w 314"/>
                  <a:gd name="T39" fmla="*/ 2 h 170"/>
                  <a:gd name="T40" fmla="*/ 46 w 314"/>
                  <a:gd name="T41" fmla="*/ 0 h 170"/>
                  <a:gd name="T42" fmla="*/ 56 w 314"/>
                  <a:gd name="T43" fmla="*/ 0 h 170"/>
                  <a:gd name="T44" fmla="*/ 68 w 314"/>
                  <a:gd name="T45" fmla="*/ 4 h 170"/>
                  <a:gd name="T46" fmla="*/ 278 w 314"/>
                  <a:gd name="T47" fmla="*/ 68 h 170"/>
                  <a:gd name="T48" fmla="*/ 278 w 314"/>
                  <a:gd name="T49" fmla="*/ 68 h 170"/>
                  <a:gd name="T50" fmla="*/ 286 w 314"/>
                  <a:gd name="T51" fmla="*/ 72 h 170"/>
                  <a:gd name="T52" fmla="*/ 296 w 314"/>
                  <a:gd name="T53" fmla="*/ 78 h 170"/>
                  <a:gd name="T54" fmla="*/ 302 w 314"/>
                  <a:gd name="T55" fmla="*/ 86 h 170"/>
                  <a:gd name="T56" fmla="*/ 308 w 314"/>
                  <a:gd name="T57" fmla="*/ 94 h 170"/>
                  <a:gd name="T58" fmla="*/ 312 w 314"/>
                  <a:gd name="T59" fmla="*/ 104 h 170"/>
                  <a:gd name="T60" fmla="*/ 314 w 314"/>
                  <a:gd name="T61" fmla="*/ 114 h 170"/>
                  <a:gd name="T62" fmla="*/ 314 w 314"/>
                  <a:gd name="T63" fmla="*/ 124 h 170"/>
                  <a:gd name="T64" fmla="*/ 312 w 314"/>
                  <a:gd name="T65" fmla="*/ 134 h 170"/>
                  <a:gd name="T66" fmla="*/ 312 w 314"/>
                  <a:gd name="T67" fmla="*/ 134 h 170"/>
                  <a:gd name="T68" fmla="*/ 308 w 314"/>
                  <a:gd name="T69" fmla="*/ 142 h 170"/>
                  <a:gd name="T70" fmla="*/ 304 w 314"/>
                  <a:gd name="T71" fmla="*/ 150 h 170"/>
                  <a:gd name="T72" fmla="*/ 298 w 314"/>
                  <a:gd name="T73" fmla="*/ 156 h 170"/>
                  <a:gd name="T74" fmla="*/ 292 w 314"/>
                  <a:gd name="T75" fmla="*/ 160 h 170"/>
                  <a:gd name="T76" fmla="*/ 286 w 314"/>
                  <a:gd name="T77" fmla="*/ 166 h 170"/>
                  <a:gd name="T78" fmla="*/ 278 w 314"/>
                  <a:gd name="T79" fmla="*/ 168 h 170"/>
                  <a:gd name="T80" fmla="*/ 270 w 314"/>
                  <a:gd name="T81" fmla="*/ 170 h 170"/>
                  <a:gd name="T82" fmla="*/ 262 w 314"/>
                  <a:gd name="T83" fmla="*/ 170 h 170"/>
                  <a:gd name="T84" fmla="*/ 262 w 314"/>
                  <a:gd name="T8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4" h="170">
                    <a:moveTo>
                      <a:pt x="262" y="170"/>
                    </a:moveTo>
                    <a:lnTo>
                      <a:pt x="262" y="170"/>
                    </a:lnTo>
                    <a:lnTo>
                      <a:pt x="254" y="170"/>
                    </a:lnTo>
                    <a:lnTo>
                      <a:pt x="246" y="16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26" y="100"/>
                    </a:lnTo>
                    <a:lnTo>
                      <a:pt x="18" y="94"/>
                    </a:lnTo>
                    <a:lnTo>
                      <a:pt x="10" y="86"/>
                    </a:lnTo>
                    <a:lnTo>
                      <a:pt x="6" y="78"/>
                    </a:lnTo>
                    <a:lnTo>
                      <a:pt x="2" y="68"/>
                    </a:lnTo>
                    <a:lnTo>
                      <a:pt x="0" y="58"/>
                    </a:lnTo>
                    <a:lnTo>
                      <a:pt x="0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28"/>
                    </a:lnTo>
                    <a:lnTo>
                      <a:pt x="12" y="20"/>
                    </a:lnTo>
                    <a:lnTo>
                      <a:pt x="18" y="12"/>
                    </a:lnTo>
                    <a:lnTo>
                      <a:pt x="28" y="6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56" y="0"/>
                    </a:lnTo>
                    <a:lnTo>
                      <a:pt x="68" y="4"/>
                    </a:lnTo>
                    <a:lnTo>
                      <a:pt x="278" y="68"/>
                    </a:lnTo>
                    <a:lnTo>
                      <a:pt x="278" y="68"/>
                    </a:lnTo>
                    <a:lnTo>
                      <a:pt x="286" y="72"/>
                    </a:lnTo>
                    <a:lnTo>
                      <a:pt x="296" y="78"/>
                    </a:lnTo>
                    <a:lnTo>
                      <a:pt x="302" y="86"/>
                    </a:lnTo>
                    <a:lnTo>
                      <a:pt x="308" y="94"/>
                    </a:lnTo>
                    <a:lnTo>
                      <a:pt x="312" y="104"/>
                    </a:lnTo>
                    <a:lnTo>
                      <a:pt x="314" y="114"/>
                    </a:lnTo>
                    <a:lnTo>
                      <a:pt x="314" y="124"/>
                    </a:lnTo>
                    <a:lnTo>
                      <a:pt x="312" y="134"/>
                    </a:lnTo>
                    <a:lnTo>
                      <a:pt x="312" y="134"/>
                    </a:lnTo>
                    <a:lnTo>
                      <a:pt x="308" y="142"/>
                    </a:lnTo>
                    <a:lnTo>
                      <a:pt x="304" y="150"/>
                    </a:lnTo>
                    <a:lnTo>
                      <a:pt x="298" y="156"/>
                    </a:lnTo>
                    <a:lnTo>
                      <a:pt x="292" y="160"/>
                    </a:lnTo>
                    <a:lnTo>
                      <a:pt x="286" y="166"/>
                    </a:lnTo>
                    <a:lnTo>
                      <a:pt x="278" y="168"/>
                    </a:lnTo>
                    <a:lnTo>
                      <a:pt x="270" y="170"/>
                    </a:lnTo>
                    <a:lnTo>
                      <a:pt x="262" y="170"/>
                    </a:lnTo>
                    <a:lnTo>
                      <a:pt x="262" y="170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10"/>
              <p:cNvSpPr>
                <a:spLocks/>
              </p:cNvSpPr>
              <p:nvPr/>
            </p:nvSpPr>
            <p:spPr bwMode="auto">
              <a:xfrm>
                <a:off x="6123485" y="2952972"/>
                <a:ext cx="202281" cy="156253"/>
              </a:xfrm>
              <a:custGeom>
                <a:avLst/>
                <a:gdLst>
                  <a:gd name="T0" fmla="*/ 52 w 334"/>
                  <a:gd name="T1" fmla="*/ 258 h 258"/>
                  <a:gd name="T2" fmla="*/ 52 w 334"/>
                  <a:gd name="T3" fmla="*/ 258 h 258"/>
                  <a:gd name="T4" fmla="*/ 40 w 334"/>
                  <a:gd name="T5" fmla="*/ 258 h 258"/>
                  <a:gd name="T6" fmla="*/ 28 w 334"/>
                  <a:gd name="T7" fmla="*/ 252 h 258"/>
                  <a:gd name="T8" fmla="*/ 16 w 334"/>
                  <a:gd name="T9" fmla="*/ 246 h 258"/>
                  <a:gd name="T10" fmla="*/ 8 w 334"/>
                  <a:gd name="T11" fmla="*/ 236 h 258"/>
                  <a:gd name="T12" fmla="*/ 8 w 334"/>
                  <a:gd name="T13" fmla="*/ 236 h 258"/>
                  <a:gd name="T14" fmla="*/ 4 w 334"/>
                  <a:gd name="T15" fmla="*/ 226 h 258"/>
                  <a:gd name="T16" fmla="*/ 0 w 334"/>
                  <a:gd name="T17" fmla="*/ 216 h 258"/>
                  <a:gd name="T18" fmla="*/ 0 w 334"/>
                  <a:gd name="T19" fmla="*/ 206 h 258"/>
                  <a:gd name="T20" fmla="*/ 0 w 334"/>
                  <a:gd name="T21" fmla="*/ 196 h 258"/>
                  <a:gd name="T22" fmla="*/ 4 w 334"/>
                  <a:gd name="T23" fmla="*/ 186 h 258"/>
                  <a:gd name="T24" fmla="*/ 8 w 334"/>
                  <a:gd name="T25" fmla="*/ 178 h 258"/>
                  <a:gd name="T26" fmla="*/ 14 w 334"/>
                  <a:gd name="T27" fmla="*/ 170 h 258"/>
                  <a:gd name="T28" fmla="*/ 22 w 334"/>
                  <a:gd name="T29" fmla="*/ 162 h 258"/>
                  <a:gd name="T30" fmla="*/ 252 w 334"/>
                  <a:gd name="T31" fmla="*/ 8 h 258"/>
                  <a:gd name="T32" fmla="*/ 252 w 334"/>
                  <a:gd name="T33" fmla="*/ 8 h 258"/>
                  <a:gd name="T34" fmla="*/ 262 w 334"/>
                  <a:gd name="T35" fmla="*/ 4 h 258"/>
                  <a:gd name="T36" fmla="*/ 272 w 334"/>
                  <a:gd name="T37" fmla="*/ 0 h 258"/>
                  <a:gd name="T38" fmla="*/ 282 w 334"/>
                  <a:gd name="T39" fmla="*/ 0 h 258"/>
                  <a:gd name="T40" fmla="*/ 292 w 334"/>
                  <a:gd name="T41" fmla="*/ 0 h 258"/>
                  <a:gd name="T42" fmla="*/ 302 w 334"/>
                  <a:gd name="T43" fmla="*/ 4 h 258"/>
                  <a:gd name="T44" fmla="*/ 310 w 334"/>
                  <a:gd name="T45" fmla="*/ 8 h 258"/>
                  <a:gd name="T46" fmla="*/ 318 w 334"/>
                  <a:gd name="T47" fmla="*/ 14 h 258"/>
                  <a:gd name="T48" fmla="*/ 326 w 334"/>
                  <a:gd name="T49" fmla="*/ 22 h 258"/>
                  <a:gd name="T50" fmla="*/ 326 w 334"/>
                  <a:gd name="T51" fmla="*/ 22 h 258"/>
                  <a:gd name="T52" fmla="*/ 330 w 334"/>
                  <a:gd name="T53" fmla="*/ 32 h 258"/>
                  <a:gd name="T54" fmla="*/ 334 w 334"/>
                  <a:gd name="T55" fmla="*/ 42 h 258"/>
                  <a:gd name="T56" fmla="*/ 334 w 334"/>
                  <a:gd name="T57" fmla="*/ 52 h 258"/>
                  <a:gd name="T58" fmla="*/ 334 w 334"/>
                  <a:gd name="T59" fmla="*/ 62 h 258"/>
                  <a:gd name="T60" fmla="*/ 330 w 334"/>
                  <a:gd name="T61" fmla="*/ 72 h 258"/>
                  <a:gd name="T62" fmla="*/ 326 w 334"/>
                  <a:gd name="T63" fmla="*/ 80 h 258"/>
                  <a:gd name="T64" fmla="*/ 320 w 334"/>
                  <a:gd name="T65" fmla="*/ 88 h 258"/>
                  <a:gd name="T66" fmla="*/ 312 w 334"/>
                  <a:gd name="T67" fmla="*/ 96 h 258"/>
                  <a:gd name="T68" fmla="*/ 82 w 334"/>
                  <a:gd name="T69" fmla="*/ 250 h 258"/>
                  <a:gd name="T70" fmla="*/ 82 w 334"/>
                  <a:gd name="T71" fmla="*/ 250 h 258"/>
                  <a:gd name="T72" fmla="*/ 74 w 334"/>
                  <a:gd name="T73" fmla="*/ 254 h 258"/>
                  <a:gd name="T74" fmla="*/ 66 w 334"/>
                  <a:gd name="T75" fmla="*/ 256 h 258"/>
                  <a:gd name="T76" fmla="*/ 52 w 334"/>
                  <a:gd name="T77" fmla="*/ 258 h 258"/>
                  <a:gd name="T78" fmla="*/ 52 w 334"/>
                  <a:gd name="T7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4" h="258">
                    <a:moveTo>
                      <a:pt x="52" y="258"/>
                    </a:moveTo>
                    <a:lnTo>
                      <a:pt x="52" y="258"/>
                    </a:lnTo>
                    <a:lnTo>
                      <a:pt x="40" y="258"/>
                    </a:lnTo>
                    <a:lnTo>
                      <a:pt x="28" y="252"/>
                    </a:lnTo>
                    <a:lnTo>
                      <a:pt x="16" y="246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4" y="226"/>
                    </a:lnTo>
                    <a:lnTo>
                      <a:pt x="0" y="216"/>
                    </a:lnTo>
                    <a:lnTo>
                      <a:pt x="0" y="206"/>
                    </a:lnTo>
                    <a:lnTo>
                      <a:pt x="0" y="196"/>
                    </a:lnTo>
                    <a:lnTo>
                      <a:pt x="4" y="186"/>
                    </a:lnTo>
                    <a:lnTo>
                      <a:pt x="8" y="178"/>
                    </a:lnTo>
                    <a:lnTo>
                      <a:pt x="14" y="170"/>
                    </a:lnTo>
                    <a:lnTo>
                      <a:pt x="22" y="16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62" y="4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92" y="0"/>
                    </a:lnTo>
                    <a:lnTo>
                      <a:pt x="302" y="4"/>
                    </a:lnTo>
                    <a:lnTo>
                      <a:pt x="310" y="8"/>
                    </a:lnTo>
                    <a:lnTo>
                      <a:pt x="318" y="1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30" y="32"/>
                    </a:lnTo>
                    <a:lnTo>
                      <a:pt x="334" y="42"/>
                    </a:lnTo>
                    <a:lnTo>
                      <a:pt x="334" y="52"/>
                    </a:lnTo>
                    <a:lnTo>
                      <a:pt x="334" y="62"/>
                    </a:lnTo>
                    <a:lnTo>
                      <a:pt x="330" y="72"/>
                    </a:lnTo>
                    <a:lnTo>
                      <a:pt x="326" y="80"/>
                    </a:lnTo>
                    <a:lnTo>
                      <a:pt x="320" y="88"/>
                    </a:lnTo>
                    <a:lnTo>
                      <a:pt x="312" y="96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4" y="254"/>
                    </a:lnTo>
                    <a:lnTo>
                      <a:pt x="66" y="256"/>
                    </a:lnTo>
                    <a:lnTo>
                      <a:pt x="52" y="258"/>
                    </a:lnTo>
                    <a:lnTo>
                      <a:pt x="52" y="25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Freeform 11"/>
              <p:cNvSpPr>
                <a:spLocks/>
              </p:cNvSpPr>
              <p:nvPr/>
            </p:nvSpPr>
            <p:spPr bwMode="auto">
              <a:xfrm>
                <a:off x="5628079" y="3026859"/>
                <a:ext cx="208337" cy="180478"/>
              </a:xfrm>
              <a:custGeom>
                <a:avLst/>
                <a:gdLst>
                  <a:gd name="T0" fmla="*/ 52 w 344"/>
                  <a:gd name="T1" fmla="*/ 298 h 298"/>
                  <a:gd name="T2" fmla="*/ 52 w 344"/>
                  <a:gd name="T3" fmla="*/ 298 h 298"/>
                  <a:gd name="T4" fmla="*/ 42 w 344"/>
                  <a:gd name="T5" fmla="*/ 298 h 298"/>
                  <a:gd name="T6" fmla="*/ 30 w 344"/>
                  <a:gd name="T7" fmla="*/ 294 h 298"/>
                  <a:gd name="T8" fmla="*/ 20 w 344"/>
                  <a:gd name="T9" fmla="*/ 288 h 298"/>
                  <a:gd name="T10" fmla="*/ 12 w 344"/>
                  <a:gd name="T11" fmla="*/ 278 h 298"/>
                  <a:gd name="T12" fmla="*/ 12 w 344"/>
                  <a:gd name="T13" fmla="*/ 278 h 298"/>
                  <a:gd name="T14" fmla="*/ 6 w 344"/>
                  <a:gd name="T15" fmla="*/ 270 h 298"/>
                  <a:gd name="T16" fmla="*/ 2 w 344"/>
                  <a:gd name="T17" fmla="*/ 260 h 298"/>
                  <a:gd name="T18" fmla="*/ 0 w 344"/>
                  <a:gd name="T19" fmla="*/ 250 h 298"/>
                  <a:gd name="T20" fmla="*/ 0 w 344"/>
                  <a:gd name="T21" fmla="*/ 240 h 298"/>
                  <a:gd name="T22" fmla="*/ 2 w 344"/>
                  <a:gd name="T23" fmla="*/ 230 h 298"/>
                  <a:gd name="T24" fmla="*/ 6 w 344"/>
                  <a:gd name="T25" fmla="*/ 220 h 298"/>
                  <a:gd name="T26" fmla="*/ 12 w 344"/>
                  <a:gd name="T27" fmla="*/ 212 h 298"/>
                  <a:gd name="T28" fmla="*/ 20 w 344"/>
                  <a:gd name="T29" fmla="*/ 204 h 298"/>
                  <a:gd name="T30" fmla="*/ 260 w 344"/>
                  <a:gd name="T31" fmla="*/ 10 h 298"/>
                  <a:gd name="T32" fmla="*/ 260 w 344"/>
                  <a:gd name="T33" fmla="*/ 10 h 298"/>
                  <a:gd name="T34" fmla="*/ 268 w 344"/>
                  <a:gd name="T35" fmla="*/ 6 h 298"/>
                  <a:gd name="T36" fmla="*/ 278 w 344"/>
                  <a:gd name="T37" fmla="*/ 2 h 298"/>
                  <a:gd name="T38" fmla="*/ 288 w 344"/>
                  <a:gd name="T39" fmla="*/ 0 h 298"/>
                  <a:gd name="T40" fmla="*/ 298 w 344"/>
                  <a:gd name="T41" fmla="*/ 0 h 298"/>
                  <a:gd name="T42" fmla="*/ 308 w 344"/>
                  <a:gd name="T43" fmla="*/ 2 h 298"/>
                  <a:gd name="T44" fmla="*/ 318 w 344"/>
                  <a:gd name="T45" fmla="*/ 6 h 298"/>
                  <a:gd name="T46" fmla="*/ 326 w 344"/>
                  <a:gd name="T47" fmla="*/ 12 h 298"/>
                  <a:gd name="T48" fmla="*/ 334 w 344"/>
                  <a:gd name="T49" fmla="*/ 18 h 298"/>
                  <a:gd name="T50" fmla="*/ 334 w 344"/>
                  <a:gd name="T51" fmla="*/ 18 h 298"/>
                  <a:gd name="T52" fmla="*/ 340 w 344"/>
                  <a:gd name="T53" fmla="*/ 28 h 298"/>
                  <a:gd name="T54" fmla="*/ 344 w 344"/>
                  <a:gd name="T55" fmla="*/ 38 h 298"/>
                  <a:gd name="T56" fmla="*/ 344 w 344"/>
                  <a:gd name="T57" fmla="*/ 48 h 298"/>
                  <a:gd name="T58" fmla="*/ 344 w 344"/>
                  <a:gd name="T59" fmla="*/ 58 h 298"/>
                  <a:gd name="T60" fmla="*/ 342 w 344"/>
                  <a:gd name="T61" fmla="*/ 68 h 298"/>
                  <a:gd name="T62" fmla="*/ 338 w 344"/>
                  <a:gd name="T63" fmla="*/ 76 h 298"/>
                  <a:gd name="T64" fmla="*/ 334 w 344"/>
                  <a:gd name="T65" fmla="*/ 86 h 298"/>
                  <a:gd name="T66" fmla="*/ 326 w 344"/>
                  <a:gd name="T67" fmla="*/ 92 h 298"/>
                  <a:gd name="T68" fmla="*/ 86 w 344"/>
                  <a:gd name="T69" fmla="*/ 286 h 298"/>
                  <a:gd name="T70" fmla="*/ 86 w 344"/>
                  <a:gd name="T71" fmla="*/ 286 h 298"/>
                  <a:gd name="T72" fmla="*/ 78 w 344"/>
                  <a:gd name="T73" fmla="*/ 292 h 298"/>
                  <a:gd name="T74" fmla="*/ 70 w 344"/>
                  <a:gd name="T75" fmla="*/ 296 h 298"/>
                  <a:gd name="T76" fmla="*/ 62 w 344"/>
                  <a:gd name="T77" fmla="*/ 298 h 298"/>
                  <a:gd name="T78" fmla="*/ 52 w 344"/>
                  <a:gd name="T79" fmla="*/ 298 h 298"/>
                  <a:gd name="T80" fmla="*/ 52 w 344"/>
                  <a:gd name="T81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4" h="298">
                    <a:moveTo>
                      <a:pt x="52" y="298"/>
                    </a:moveTo>
                    <a:lnTo>
                      <a:pt x="52" y="298"/>
                    </a:lnTo>
                    <a:lnTo>
                      <a:pt x="42" y="298"/>
                    </a:lnTo>
                    <a:lnTo>
                      <a:pt x="30" y="294"/>
                    </a:lnTo>
                    <a:lnTo>
                      <a:pt x="20" y="28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6" y="270"/>
                    </a:lnTo>
                    <a:lnTo>
                      <a:pt x="2" y="260"/>
                    </a:lnTo>
                    <a:lnTo>
                      <a:pt x="0" y="250"/>
                    </a:lnTo>
                    <a:lnTo>
                      <a:pt x="0" y="240"/>
                    </a:lnTo>
                    <a:lnTo>
                      <a:pt x="2" y="230"/>
                    </a:lnTo>
                    <a:lnTo>
                      <a:pt x="6" y="220"/>
                    </a:lnTo>
                    <a:lnTo>
                      <a:pt x="12" y="212"/>
                    </a:lnTo>
                    <a:lnTo>
                      <a:pt x="20" y="204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8" y="6"/>
                    </a:lnTo>
                    <a:lnTo>
                      <a:pt x="278" y="2"/>
                    </a:lnTo>
                    <a:lnTo>
                      <a:pt x="288" y="0"/>
                    </a:lnTo>
                    <a:lnTo>
                      <a:pt x="298" y="0"/>
                    </a:lnTo>
                    <a:lnTo>
                      <a:pt x="308" y="2"/>
                    </a:lnTo>
                    <a:lnTo>
                      <a:pt x="318" y="6"/>
                    </a:lnTo>
                    <a:lnTo>
                      <a:pt x="326" y="12"/>
                    </a:lnTo>
                    <a:lnTo>
                      <a:pt x="334" y="18"/>
                    </a:lnTo>
                    <a:lnTo>
                      <a:pt x="334" y="18"/>
                    </a:lnTo>
                    <a:lnTo>
                      <a:pt x="340" y="28"/>
                    </a:lnTo>
                    <a:lnTo>
                      <a:pt x="344" y="38"/>
                    </a:lnTo>
                    <a:lnTo>
                      <a:pt x="344" y="48"/>
                    </a:lnTo>
                    <a:lnTo>
                      <a:pt x="344" y="58"/>
                    </a:lnTo>
                    <a:lnTo>
                      <a:pt x="342" y="68"/>
                    </a:lnTo>
                    <a:lnTo>
                      <a:pt x="338" y="76"/>
                    </a:lnTo>
                    <a:lnTo>
                      <a:pt x="334" y="86"/>
                    </a:lnTo>
                    <a:lnTo>
                      <a:pt x="326" y="92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78" y="292"/>
                    </a:lnTo>
                    <a:lnTo>
                      <a:pt x="70" y="296"/>
                    </a:lnTo>
                    <a:lnTo>
                      <a:pt x="62" y="298"/>
                    </a:lnTo>
                    <a:lnTo>
                      <a:pt x="52" y="298"/>
                    </a:lnTo>
                    <a:lnTo>
                      <a:pt x="52" y="29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 bwMode="auto">
              <a:xfrm>
                <a:off x="5413104" y="2598477"/>
                <a:ext cx="1326042" cy="1326043"/>
              </a:xfrm>
              <a:prstGeom prst="ellipse">
                <a:avLst/>
              </a:prstGeom>
              <a:noFill/>
              <a:ln w="57150" cap="flat" cmpd="sng" algn="ctr">
                <a:solidFill>
                  <a:srgbClr val="1A86DB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98" name="Group 197"/>
          <p:cNvGrpSpPr/>
          <p:nvPr userDrawn="1"/>
        </p:nvGrpSpPr>
        <p:grpSpPr>
          <a:xfrm rot="16200000">
            <a:off x="2633733" y="3843615"/>
            <a:ext cx="178877" cy="5446342"/>
            <a:chOff x="9312007" y="34787"/>
            <a:chExt cx="1212906" cy="3143923"/>
          </a:xfrm>
        </p:grpSpPr>
        <p:sp>
          <p:nvSpPr>
            <p:cNvPr id="199" name="Bent Arrow 198"/>
            <p:cNvSpPr/>
            <p:nvPr/>
          </p:nvSpPr>
          <p:spPr bwMode="auto">
            <a:xfrm flipH="1">
              <a:off x="9832459" y="1745357"/>
              <a:ext cx="692454" cy="1433353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75000"/>
              </a:avLst>
            </a:prstGeom>
            <a:solidFill>
              <a:srgbClr val="0078D7"/>
            </a:solidFill>
            <a:ln w="38100" cap="flat" cmpd="sng" algn="ctr">
              <a:solidFill>
                <a:srgbClr val="1A86D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0" name="Bent Arrow 199"/>
            <p:cNvSpPr/>
            <p:nvPr/>
          </p:nvSpPr>
          <p:spPr bwMode="auto">
            <a:xfrm rot="10800000" flipH="1">
              <a:off x="9312007" y="34787"/>
              <a:ext cx="805099" cy="1711160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52871"/>
              </a:avLst>
            </a:prstGeom>
            <a:solidFill>
              <a:srgbClr val="0078D7"/>
            </a:solidFill>
            <a:ln w="38100" cap="flat" cmpd="sng" algn="ctr">
              <a:solidFill>
                <a:srgbClr val="1A86D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1" name="Bent Arrow 200"/>
          <p:cNvSpPr/>
          <p:nvPr userDrawn="1"/>
        </p:nvSpPr>
        <p:spPr bwMode="auto">
          <a:xfrm>
            <a:off x="5574503" y="6689583"/>
            <a:ext cx="3745038" cy="160320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2" name="Bent Arrow 201"/>
          <p:cNvSpPr/>
          <p:nvPr userDrawn="1"/>
        </p:nvSpPr>
        <p:spPr bwMode="auto">
          <a:xfrm rot="10800000" flipH="1">
            <a:off x="2009389" y="5731459"/>
            <a:ext cx="7689670" cy="743033"/>
          </a:xfrm>
          <a:prstGeom prst="bentArrow">
            <a:avLst>
              <a:gd name="adj1" fmla="val 25000"/>
              <a:gd name="adj2" fmla="val 0"/>
              <a:gd name="adj3" fmla="val 25000"/>
              <a:gd name="adj4" fmla="val 20518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3" name="Bent Arrow 202"/>
          <p:cNvSpPr/>
          <p:nvPr userDrawn="1"/>
        </p:nvSpPr>
        <p:spPr bwMode="auto">
          <a:xfrm rot="10800000">
            <a:off x="11003730" y="6312003"/>
            <a:ext cx="695373" cy="260862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5" name="Bent Arrow 204"/>
          <p:cNvSpPr/>
          <p:nvPr userDrawn="1"/>
        </p:nvSpPr>
        <p:spPr bwMode="auto">
          <a:xfrm rot="16200000">
            <a:off x="11309973" y="6613545"/>
            <a:ext cx="319235" cy="260825"/>
          </a:xfrm>
          <a:prstGeom prst="bentArrow">
            <a:avLst>
              <a:gd name="adj1" fmla="val 25000"/>
              <a:gd name="adj2" fmla="val 0"/>
              <a:gd name="adj3" fmla="val 25000"/>
              <a:gd name="adj4" fmla="val 15819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6" name="Freeform 15"/>
          <p:cNvSpPr>
            <a:spLocks noEditPoints="1"/>
          </p:cNvSpPr>
          <p:nvPr userDrawn="1"/>
        </p:nvSpPr>
        <p:spPr bwMode="auto">
          <a:xfrm>
            <a:off x="4302949" y="6603918"/>
            <a:ext cx="119171" cy="119188"/>
          </a:xfrm>
          <a:custGeom>
            <a:avLst/>
            <a:gdLst>
              <a:gd name="T0" fmla="*/ 172 w 344"/>
              <a:gd name="T1" fmla="*/ 344 h 344"/>
              <a:gd name="T2" fmla="*/ 172 w 344"/>
              <a:gd name="T3" fmla="*/ 344 h 344"/>
              <a:gd name="T4" fmla="*/ 142 w 344"/>
              <a:gd name="T5" fmla="*/ 334 h 344"/>
              <a:gd name="T6" fmla="*/ 124 w 344"/>
              <a:gd name="T7" fmla="*/ 312 h 344"/>
              <a:gd name="T8" fmla="*/ 118 w 344"/>
              <a:gd name="T9" fmla="*/ 300 h 344"/>
              <a:gd name="T10" fmla="*/ 102 w 344"/>
              <a:gd name="T11" fmla="*/ 278 h 344"/>
              <a:gd name="T12" fmla="*/ 72 w 344"/>
              <a:gd name="T13" fmla="*/ 248 h 344"/>
              <a:gd name="T14" fmla="*/ 28 w 344"/>
              <a:gd name="T15" fmla="*/ 218 h 344"/>
              <a:gd name="T16" fmla="*/ 16 w 344"/>
              <a:gd name="T17" fmla="*/ 210 h 344"/>
              <a:gd name="T18" fmla="*/ 2 w 344"/>
              <a:gd name="T19" fmla="*/ 186 h 344"/>
              <a:gd name="T20" fmla="*/ 0 w 344"/>
              <a:gd name="T21" fmla="*/ 172 h 344"/>
              <a:gd name="T22" fmla="*/ 8 w 344"/>
              <a:gd name="T23" fmla="*/ 144 h 344"/>
              <a:gd name="T24" fmla="*/ 30 w 344"/>
              <a:gd name="T25" fmla="*/ 124 h 344"/>
              <a:gd name="T26" fmla="*/ 54 w 344"/>
              <a:gd name="T27" fmla="*/ 112 h 344"/>
              <a:gd name="T28" fmla="*/ 90 w 344"/>
              <a:gd name="T29" fmla="*/ 82 h 344"/>
              <a:gd name="T30" fmla="*/ 112 w 344"/>
              <a:gd name="T31" fmla="*/ 54 h 344"/>
              <a:gd name="T32" fmla="*/ 124 w 344"/>
              <a:gd name="T33" fmla="*/ 34 h 344"/>
              <a:gd name="T34" fmla="*/ 126 w 344"/>
              <a:gd name="T35" fmla="*/ 26 h 344"/>
              <a:gd name="T36" fmla="*/ 142 w 344"/>
              <a:gd name="T37" fmla="*/ 10 h 344"/>
              <a:gd name="T38" fmla="*/ 164 w 344"/>
              <a:gd name="T39" fmla="*/ 2 h 344"/>
              <a:gd name="T40" fmla="*/ 172 w 344"/>
              <a:gd name="T41" fmla="*/ 0 h 344"/>
              <a:gd name="T42" fmla="*/ 172 w 344"/>
              <a:gd name="T43" fmla="*/ 0 h 344"/>
              <a:gd name="T44" fmla="*/ 188 w 344"/>
              <a:gd name="T45" fmla="*/ 2 h 344"/>
              <a:gd name="T46" fmla="*/ 214 w 344"/>
              <a:gd name="T47" fmla="*/ 20 h 344"/>
              <a:gd name="T48" fmla="*/ 222 w 344"/>
              <a:gd name="T49" fmla="*/ 34 h 344"/>
              <a:gd name="T50" fmla="*/ 226 w 344"/>
              <a:gd name="T51" fmla="*/ 44 h 344"/>
              <a:gd name="T52" fmla="*/ 242 w 344"/>
              <a:gd name="T53" fmla="*/ 68 h 344"/>
              <a:gd name="T54" fmla="*/ 270 w 344"/>
              <a:gd name="T55" fmla="*/ 96 h 344"/>
              <a:gd name="T56" fmla="*/ 314 w 344"/>
              <a:gd name="T57" fmla="*/ 124 h 344"/>
              <a:gd name="T58" fmla="*/ 328 w 344"/>
              <a:gd name="T59" fmla="*/ 134 h 344"/>
              <a:gd name="T60" fmla="*/ 342 w 344"/>
              <a:gd name="T61" fmla="*/ 160 h 344"/>
              <a:gd name="T62" fmla="*/ 344 w 344"/>
              <a:gd name="T63" fmla="*/ 176 h 344"/>
              <a:gd name="T64" fmla="*/ 340 w 344"/>
              <a:gd name="T65" fmla="*/ 190 h 344"/>
              <a:gd name="T66" fmla="*/ 322 w 344"/>
              <a:gd name="T67" fmla="*/ 214 h 344"/>
              <a:gd name="T68" fmla="*/ 308 w 344"/>
              <a:gd name="T69" fmla="*/ 222 h 344"/>
              <a:gd name="T70" fmla="*/ 276 w 344"/>
              <a:gd name="T71" fmla="*/ 240 h 344"/>
              <a:gd name="T72" fmla="*/ 250 w 344"/>
              <a:gd name="T73" fmla="*/ 266 h 344"/>
              <a:gd name="T74" fmla="*/ 232 w 344"/>
              <a:gd name="T75" fmla="*/ 292 h 344"/>
              <a:gd name="T76" fmla="*/ 220 w 344"/>
              <a:gd name="T77" fmla="*/ 312 h 344"/>
              <a:gd name="T78" fmla="*/ 200 w 344"/>
              <a:gd name="T79" fmla="*/ 336 h 344"/>
              <a:gd name="T80" fmla="*/ 172 w 344"/>
              <a:gd name="T81" fmla="*/ 344 h 344"/>
              <a:gd name="T82" fmla="*/ 146 w 344"/>
              <a:gd name="T83" fmla="*/ 172 h 344"/>
              <a:gd name="T84" fmla="*/ 170 w 344"/>
              <a:gd name="T85" fmla="*/ 196 h 344"/>
              <a:gd name="T86" fmla="*/ 196 w 344"/>
              <a:gd name="T87" fmla="*/ 170 h 344"/>
              <a:gd name="T88" fmla="*/ 172 w 344"/>
              <a:gd name="T89" fmla="*/ 148 h 344"/>
              <a:gd name="T90" fmla="*/ 146 w 344"/>
              <a:gd name="T91" fmla="*/ 172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4" h="344">
                <a:moveTo>
                  <a:pt x="172" y="344"/>
                </a:moveTo>
                <a:lnTo>
                  <a:pt x="172" y="344"/>
                </a:lnTo>
                <a:lnTo>
                  <a:pt x="172" y="344"/>
                </a:lnTo>
                <a:lnTo>
                  <a:pt x="172" y="344"/>
                </a:lnTo>
                <a:lnTo>
                  <a:pt x="156" y="342"/>
                </a:lnTo>
                <a:lnTo>
                  <a:pt x="142" y="334"/>
                </a:lnTo>
                <a:lnTo>
                  <a:pt x="132" y="324"/>
                </a:lnTo>
                <a:lnTo>
                  <a:pt x="124" y="312"/>
                </a:lnTo>
                <a:lnTo>
                  <a:pt x="124" y="312"/>
                </a:lnTo>
                <a:lnTo>
                  <a:pt x="118" y="300"/>
                </a:lnTo>
                <a:lnTo>
                  <a:pt x="112" y="290"/>
                </a:lnTo>
                <a:lnTo>
                  <a:pt x="102" y="278"/>
                </a:lnTo>
                <a:lnTo>
                  <a:pt x="90" y="264"/>
                </a:lnTo>
                <a:lnTo>
                  <a:pt x="72" y="248"/>
                </a:lnTo>
                <a:lnTo>
                  <a:pt x="52" y="232"/>
                </a:lnTo>
                <a:lnTo>
                  <a:pt x="28" y="218"/>
                </a:lnTo>
                <a:lnTo>
                  <a:pt x="28" y="218"/>
                </a:lnTo>
                <a:lnTo>
                  <a:pt x="16" y="210"/>
                </a:lnTo>
                <a:lnTo>
                  <a:pt x="8" y="198"/>
                </a:lnTo>
                <a:lnTo>
                  <a:pt x="2" y="186"/>
                </a:lnTo>
                <a:lnTo>
                  <a:pt x="0" y="172"/>
                </a:lnTo>
                <a:lnTo>
                  <a:pt x="0" y="172"/>
                </a:lnTo>
                <a:lnTo>
                  <a:pt x="2" y="156"/>
                </a:lnTo>
                <a:lnTo>
                  <a:pt x="8" y="144"/>
                </a:lnTo>
                <a:lnTo>
                  <a:pt x="18" y="132"/>
                </a:lnTo>
                <a:lnTo>
                  <a:pt x="30" y="124"/>
                </a:lnTo>
                <a:lnTo>
                  <a:pt x="30" y="124"/>
                </a:lnTo>
                <a:lnTo>
                  <a:pt x="54" y="112"/>
                </a:lnTo>
                <a:lnTo>
                  <a:pt x="74" y="96"/>
                </a:lnTo>
                <a:lnTo>
                  <a:pt x="90" y="82"/>
                </a:lnTo>
                <a:lnTo>
                  <a:pt x="102" y="68"/>
                </a:lnTo>
                <a:lnTo>
                  <a:pt x="112" y="54"/>
                </a:lnTo>
                <a:lnTo>
                  <a:pt x="118" y="44"/>
                </a:lnTo>
                <a:lnTo>
                  <a:pt x="124" y="34"/>
                </a:lnTo>
                <a:lnTo>
                  <a:pt x="124" y="34"/>
                </a:lnTo>
                <a:lnTo>
                  <a:pt x="126" y="26"/>
                </a:lnTo>
                <a:lnTo>
                  <a:pt x="130" y="20"/>
                </a:lnTo>
                <a:lnTo>
                  <a:pt x="142" y="10"/>
                </a:lnTo>
                <a:lnTo>
                  <a:pt x="156" y="2"/>
                </a:lnTo>
                <a:lnTo>
                  <a:pt x="164" y="2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80" y="2"/>
                </a:lnTo>
                <a:lnTo>
                  <a:pt x="188" y="2"/>
                </a:lnTo>
                <a:lnTo>
                  <a:pt x="202" y="10"/>
                </a:lnTo>
                <a:lnTo>
                  <a:pt x="214" y="20"/>
                </a:lnTo>
                <a:lnTo>
                  <a:pt x="218" y="28"/>
                </a:lnTo>
                <a:lnTo>
                  <a:pt x="222" y="34"/>
                </a:lnTo>
                <a:lnTo>
                  <a:pt x="222" y="34"/>
                </a:lnTo>
                <a:lnTo>
                  <a:pt x="226" y="44"/>
                </a:lnTo>
                <a:lnTo>
                  <a:pt x="232" y="56"/>
                </a:lnTo>
                <a:lnTo>
                  <a:pt x="242" y="68"/>
                </a:lnTo>
                <a:lnTo>
                  <a:pt x="254" y="82"/>
                </a:lnTo>
                <a:lnTo>
                  <a:pt x="270" y="96"/>
                </a:lnTo>
                <a:lnTo>
                  <a:pt x="290" y="112"/>
                </a:lnTo>
                <a:lnTo>
                  <a:pt x="314" y="124"/>
                </a:lnTo>
                <a:lnTo>
                  <a:pt x="314" y="124"/>
                </a:lnTo>
                <a:lnTo>
                  <a:pt x="328" y="134"/>
                </a:lnTo>
                <a:lnTo>
                  <a:pt x="336" y="146"/>
                </a:lnTo>
                <a:lnTo>
                  <a:pt x="342" y="160"/>
                </a:lnTo>
                <a:lnTo>
                  <a:pt x="344" y="176"/>
                </a:lnTo>
                <a:lnTo>
                  <a:pt x="344" y="176"/>
                </a:lnTo>
                <a:lnTo>
                  <a:pt x="342" y="184"/>
                </a:lnTo>
                <a:lnTo>
                  <a:pt x="340" y="190"/>
                </a:lnTo>
                <a:lnTo>
                  <a:pt x="334" y="204"/>
                </a:lnTo>
                <a:lnTo>
                  <a:pt x="322" y="214"/>
                </a:lnTo>
                <a:lnTo>
                  <a:pt x="308" y="222"/>
                </a:lnTo>
                <a:lnTo>
                  <a:pt x="308" y="222"/>
                </a:lnTo>
                <a:lnTo>
                  <a:pt x="292" y="230"/>
                </a:lnTo>
                <a:lnTo>
                  <a:pt x="276" y="240"/>
                </a:lnTo>
                <a:lnTo>
                  <a:pt x="262" y="252"/>
                </a:lnTo>
                <a:lnTo>
                  <a:pt x="250" y="266"/>
                </a:lnTo>
                <a:lnTo>
                  <a:pt x="240" y="278"/>
                </a:lnTo>
                <a:lnTo>
                  <a:pt x="232" y="292"/>
                </a:lnTo>
                <a:lnTo>
                  <a:pt x="220" y="312"/>
                </a:lnTo>
                <a:lnTo>
                  <a:pt x="220" y="312"/>
                </a:lnTo>
                <a:lnTo>
                  <a:pt x="212" y="326"/>
                </a:lnTo>
                <a:lnTo>
                  <a:pt x="200" y="336"/>
                </a:lnTo>
                <a:lnTo>
                  <a:pt x="188" y="342"/>
                </a:lnTo>
                <a:lnTo>
                  <a:pt x="172" y="344"/>
                </a:lnTo>
                <a:lnTo>
                  <a:pt x="172" y="344"/>
                </a:lnTo>
                <a:close/>
                <a:moveTo>
                  <a:pt x="146" y="172"/>
                </a:moveTo>
                <a:lnTo>
                  <a:pt x="146" y="172"/>
                </a:lnTo>
                <a:lnTo>
                  <a:pt x="170" y="196"/>
                </a:lnTo>
                <a:lnTo>
                  <a:pt x="170" y="196"/>
                </a:lnTo>
                <a:lnTo>
                  <a:pt x="196" y="170"/>
                </a:lnTo>
                <a:lnTo>
                  <a:pt x="196" y="170"/>
                </a:lnTo>
                <a:lnTo>
                  <a:pt x="172" y="148"/>
                </a:lnTo>
                <a:lnTo>
                  <a:pt x="172" y="148"/>
                </a:lnTo>
                <a:lnTo>
                  <a:pt x="146" y="172"/>
                </a:lnTo>
                <a:lnTo>
                  <a:pt x="146" y="17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7" name="Freeform 18"/>
          <p:cNvSpPr>
            <a:spLocks/>
          </p:cNvSpPr>
          <p:nvPr userDrawn="1"/>
        </p:nvSpPr>
        <p:spPr bwMode="auto">
          <a:xfrm>
            <a:off x="4344519" y="6468792"/>
            <a:ext cx="36722" cy="121960"/>
          </a:xfrm>
          <a:custGeom>
            <a:avLst/>
            <a:gdLst>
              <a:gd name="T0" fmla="*/ 52 w 106"/>
              <a:gd name="T1" fmla="*/ 352 h 352"/>
              <a:gd name="T2" fmla="*/ 52 w 106"/>
              <a:gd name="T3" fmla="*/ 352 h 352"/>
              <a:gd name="T4" fmla="*/ 52 w 106"/>
              <a:gd name="T5" fmla="*/ 352 h 352"/>
              <a:gd name="T6" fmla="*/ 52 w 106"/>
              <a:gd name="T7" fmla="*/ 352 h 352"/>
              <a:gd name="T8" fmla="*/ 40 w 106"/>
              <a:gd name="T9" fmla="*/ 352 h 352"/>
              <a:gd name="T10" fmla="*/ 32 w 106"/>
              <a:gd name="T11" fmla="*/ 348 h 352"/>
              <a:gd name="T12" fmla="*/ 22 w 106"/>
              <a:gd name="T13" fmla="*/ 342 h 352"/>
              <a:gd name="T14" fmla="*/ 14 w 106"/>
              <a:gd name="T15" fmla="*/ 336 h 352"/>
              <a:gd name="T16" fmla="*/ 8 w 106"/>
              <a:gd name="T17" fmla="*/ 328 h 352"/>
              <a:gd name="T18" fmla="*/ 4 w 106"/>
              <a:gd name="T19" fmla="*/ 320 h 352"/>
              <a:gd name="T20" fmla="*/ 0 w 106"/>
              <a:gd name="T21" fmla="*/ 310 h 352"/>
              <a:gd name="T22" fmla="*/ 0 w 106"/>
              <a:gd name="T23" fmla="*/ 300 h 352"/>
              <a:gd name="T24" fmla="*/ 0 w 106"/>
              <a:gd name="T25" fmla="*/ 300 h 352"/>
              <a:gd name="T26" fmla="*/ 0 w 106"/>
              <a:gd name="T27" fmla="*/ 134 h 352"/>
              <a:gd name="T28" fmla="*/ 0 w 106"/>
              <a:gd name="T29" fmla="*/ 44 h 352"/>
              <a:gd name="T30" fmla="*/ 52 w 106"/>
              <a:gd name="T31" fmla="*/ 36 h 352"/>
              <a:gd name="T32" fmla="*/ 90 w 106"/>
              <a:gd name="T33" fmla="*/ 0 h 352"/>
              <a:gd name="T34" fmla="*/ 90 w 106"/>
              <a:gd name="T35" fmla="*/ 0 h 352"/>
              <a:gd name="T36" fmla="*/ 96 w 106"/>
              <a:gd name="T37" fmla="*/ 6 h 352"/>
              <a:gd name="T38" fmla="*/ 100 w 106"/>
              <a:gd name="T39" fmla="*/ 16 h 352"/>
              <a:gd name="T40" fmla="*/ 104 w 106"/>
              <a:gd name="T41" fmla="*/ 28 h 352"/>
              <a:gd name="T42" fmla="*/ 106 w 106"/>
              <a:gd name="T43" fmla="*/ 52 h 352"/>
              <a:gd name="T44" fmla="*/ 106 w 106"/>
              <a:gd name="T45" fmla="*/ 138 h 352"/>
              <a:gd name="T46" fmla="*/ 104 w 106"/>
              <a:gd name="T47" fmla="*/ 300 h 352"/>
              <a:gd name="T48" fmla="*/ 104 w 106"/>
              <a:gd name="T49" fmla="*/ 300 h 352"/>
              <a:gd name="T50" fmla="*/ 104 w 106"/>
              <a:gd name="T51" fmla="*/ 310 h 352"/>
              <a:gd name="T52" fmla="*/ 100 w 106"/>
              <a:gd name="T53" fmla="*/ 320 h 352"/>
              <a:gd name="T54" fmla="*/ 96 w 106"/>
              <a:gd name="T55" fmla="*/ 330 h 352"/>
              <a:gd name="T56" fmla="*/ 88 w 106"/>
              <a:gd name="T57" fmla="*/ 338 h 352"/>
              <a:gd name="T58" fmla="*/ 82 w 106"/>
              <a:gd name="T59" fmla="*/ 344 h 352"/>
              <a:gd name="T60" fmla="*/ 72 w 106"/>
              <a:gd name="T61" fmla="*/ 348 h 352"/>
              <a:gd name="T62" fmla="*/ 62 w 106"/>
              <a:gd name="T63" fmla="*/ 352 h 352"/>
              <a:gd name="T64" fmla="*/ 52 w 106"/>
              <a:gd name="T65" fmla="*/ 352 h 352"/>
              <a:gd name="T66" fmla="*/ 52 w 106"/>
              <a:gd name="T67" fmla="*/ 35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6" h="352">
                <a:moveTo>
                  <a:pt x="52" y="352"/>
                </a:moveTo>
                <a:lnTo>
                  <a:pt x="52" y="352"/>
                </a:lnTo>
                <a:lnTo>
                  <a:pt x="52" y="352"/>
                </a:lnTo>
                <a:lnTo>
                  <a:pt x="52" y="352"/>
                </a:lnTo>
                <a:lnTo>
                  <a:pt x="40" y="352"/>
                </a:lnTo>
                <a:lnTo>
                  <a:pt x="32" y="348"/>
                </a:lnTo>
                <a:lnTo>
                  <a:pt x="22" y="342"/>
                </a:lnTo>
                <a:lnTo>
                  <a:pt x="14" y="336"/>
                </a:lnTo>
                <a:lnTo>
                  <a:pt x="8" y="328"/>
                </a:lnTo>
                <a:lnTo>
                  <a:pt x="4" y="320"/>
                </a:lnTo>
                <a:lnTo>
                  <a:pt x="0" y="310"/>
                </a:lnTo>
                <a:lnTo>
                  <a:pt x="0" y="300"/>
                </a:lnTo>
                <a:lnTo>
                  <a:pt x="0" y="300"/>
                </a:lnTo>
                <a:lnTo>
                  <a:pt x="0" y="134"/>
                </a:lnTo>
                <a:lnTo>
                  <a:pt x="0" y="44"/>
                </a:lnTo>
                <a:lnTo>
                  <a:pt x="52" y="3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100" y="16"/>
                </a:lnTo>
                <a:lnTo>
                  <a:pt x="104" y="28"/>
                </a:lnTo>
                <a:lnTo>
                  <a:pt x="106" y="52"/>
                </a:lnTo>
                <a:lnTo>
                  <a:pt x="106" y="138"/>
                </a:lnTo>
                <a:lnTo>
                  <a:pt x="104" y="300"/>
                </a:lnTo>
                <a:lnTo>
                  <a:pt x="104" y="300"/>
                </a:lnTo>
                <a:lnTo>
                  <a:pt x="104" y="310"/>
                </a:lnTo>
                <a:lnTo>
                  <a:pt x="100" y="320"/>
                </a:lnTo>
                <a:lnTo>
                  <a:pt x="96" y="330"/>
                </a:lnTo>
                <a:lnTo>
                  <a:pt x="88" y="338"/>
                </a:lnTo>
                <a:lnTo>
                  <a:pt x="82" y="344"/>
                </a:lnTo>
                <a:lnTo>
                  <a:pt x="72" y="348"/>
                </a:lnTo>
                <a:lnTo>
                  <a:pt x="62" y="352"/>
                </a:lnTo>
                <a:lnTo>
                  <a:pt x="52" y="352"/>
                </a:lnTo>
                <a:lnTo>
                  <a:pt x="52" y="35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8" name="Rectangle 207"/>
          <p:cNvSpPr/>
          <p:nvPr userDrawn="1"/>
        </p:nvSpPr>
        <p:spPr bwMode="auto">
          <a:xfrm>
            <a:off x="-212623" y="6858000"/>
            <a:ext cx="12617246" cy="768473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9" name="Rectangle 208"/>
          <p:cNvSpPr/>
          <p:nvPr userDrawn="1"/>
        </p:nvSpPr>
        <p:spPr bwMode="auto">
          <a:xfrm>
            <a:off x="-384182" y="6088046"/>
            <a:ext cx="384182" cy="768473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4" name="Rectangle 203"/>
          <p:cNvSpPr/>
          <p:nvPr userDrawn="1"/>
        </p:nvSpPr>
        <p:spPr bwMode="auto">
          <a:xfrm>
            <a:off x="0" y="5404123"/>
            <a:ext cx="12192000" cy="9386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Rectangle 209"/>
          <p:cNvSpPr/>
          <p:nvPr userDrawn="1"/>
        </p:nvSpPr>
        <p:spPr bwMode="auto">
          <a:xfrm>
            <a:off x="0" y="6342794"/>
            <a:ext cx="12192000" cy="515206"/>
          </a:xfrm>
          <a:prstGeom prst="rect">
            <a:avLst/>
          </a:prstGeom>
          <a:solidFill>
            <a:srgbClr val="0078D7">
              <a:alpha val="3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1" name="Picture 210"/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168139" y="6496726"/>
            <a:ext cx="918197" cy="20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83891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Photo_O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b="1090"/>
          <a:stretch/>
        </p:blipFill>
        <p:spPr>
          <a:xfrm>
            <a:off x="13247" y="0"/>
            <a:ext cx="12178754" cy="513182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715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8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88417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Microsoft">
    <p:bg>
      <p:bgPr>
        <a:solidFill>
          <a:srgbClr val="3E9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4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9"/>
            <a:ext cx="1421436" cy="300619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4" y="301618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080" indent="0">
              <a:buNone/>
              <a:defRPr sz="1961"/>
            </a:lvl2pPr>
            <a:lvl3pPr marL="560134" indent="0">
              <a:buNone/>
              <a:defRPr sz="1961"/>
            </a:lvl3pPr>
            <a:lvl4pPr marL="784187" indent="0">
              <a:buNone/>
              <a:defRPr sz="1961"/>
            </a:lvl4pPr>
            <a:lvl5pPr marL="1008241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53151" y="-923887"/>
            <a:ext cx="2819048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418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BEA276-07FD-450F-B011-B4819D3FF553}" type="datetimeFigureOut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2/20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CD9E3-C251-451B-B009-A8DCF9F508E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800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rgbClr val="525252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714" y="6029312"/>
            <a:ext cx="1673267" cy="36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43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</p:spTree>
    <p:extLst>
      <p:ext uri="{BB962C8B-B14F-4D97-AF65-F5344CB8AC3E}">
        <p14:creationId xmlns:p14="http://schemas.microsoft.com/office/powerpoint/2010/main" val="95778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0218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4208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890133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224097" indent="0">
              <a:buNone/>
              <a:defRPr sz="1800">
                <a:solidFill>
                  <a:schemeClr val="bg1"/>
                </a:solidFill>
              </a:defRPr>
            </a:lvl3pPr>
            <a:lvl4pPr marL="448193" indent="0">
              <a:buNone/>
              <a:defRPr sz="1600">
                <a:solidFill>
                  <a:schemeClr val="bg1"/>
                </a:solidFill>
              </a:defRPr>
            </a:lvl4pPr>
            <a:lvl5pPr marL="67229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782695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85017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246862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452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14300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86074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9647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1087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16251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67167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3286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9652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78894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172386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0594289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1930919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102055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48194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29718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90381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795858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0333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787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98910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3707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635963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Photo_O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l="478" t="-1" b="1518"/>
          <a:stretch/>
        </p:blipFill>
        <p:spPr>
          <a:xfrm>
            <a:off x="-7200" y="0"/>
            <a:ext cx="12199200" cy="51623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28314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6776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62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27328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92336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738555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219326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9890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674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80429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07312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10456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46508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03056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5363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1358915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50945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20101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16499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57511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67577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521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575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3618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39997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20044197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9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36840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839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2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6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38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3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558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69" t="8966" r="10242" b="27585"/>
          <a:stretch/>
        </p:blipFill>
        <p:spPr>
          <a:xfrm>
            <a:off x="-29570" y="-7782"/>
            <a:ext cx="12251139" cy="687356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29569" y="0"/>
            <a:ext cx="5058771" cy="6858000"/>
          </a:xfrm>
          <a:prstGeom prst="rect">
            <a:avLst/>
          </a:prstGeom>
          <a:solidFill>
            <a:srgbClr val="00000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47" tIns="93247" rIns="93247" bIns="9324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139"/>
            <a:endParaRPr lang="en-US" sz="1223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70388" y="2395075"/>
            <a:ext cx="4633333" cy="1929181"/>
          </a:xfrm>
          <a:noFill/>
        </p:spPr>
        <p:txBody>
          <a:bodyPr vert="horz" lIns="137160" tIns="91440" rIns="91440" bIns="0" rtlCol="0" anchor="b" anchorCtr="0">
            <a:normAutofit/>
          </a:bodyPr>
          <a:lstStyle>
            <a:lvl1pPr marL="0" algn="l" defTabSz="11095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95" b="0" kern="1200" cap="none" spc="-102" baseline="0" dirty="0">
                <a:solidFill>
                  <a:srgbClr val="FFB900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3724" y="5670380"/>
            <a:ext cx="3784600" cy="889380"/>
          </a:xfrm>
        </p:spPr>
        <p:txBody>
          <a:bodyPr lIns="137160" tIns="91440" rIns="137160" bIns="13716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427">
                <a:solidFill>
                  <a:schemeClr val="bg1"/>
                </a:solidFill>
              </a:defRPr>
            </a:lvl1pPr>
            <a:lvl2pPr marL="287218" indent="0">
              <a:buNone/>
              <a:defRPr sz="2040">
                <a:solidFill>
                  <a:schemeClr val="bg1"/>
                </a:solidFill>
              </a:defRPr>
            </a:lvl2pPr>
            <a:lvl3pPr marL="600055" indent="0">
              <a:buNone/>
              <a:defRPr sz="2040">
                <a:solidFill>
                  <a:schemeClr val="bg1"/>
                </a:solidFill>
              </a:defRPr>
            </a:lvl3pPr>
            <a:lvl4pPr marL="887274" indent="0">
              <a:buNone/>
              <a:defRPr sz="2040">
                <a:solidFill>
                  <a:schemeClr val="bg1"/>
                </a:solidFill>
              </a:defRPr>
            </a:lvl4pPr>
            <a:lvl5pPr marL="1127295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87" y="224340"/>
            <a:ext cx="1737792" cy="63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8695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4127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69" t="8966" r="10242" b="27585"/>
          <a:stretch/>
        </p:blipFill>
        <p:spPr>
          <a:xfrm>
            <a:off x="-29570" y="-7782"/>
            <a:ext cx="12251139" cy="687356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" y="0"/>
            <a:ext cx="5029201" cy="6858000"/>
          </a:xfrm>
          <a:prstGeom prst="rect">
            <a:avLst/>
          </a:prstGeom>
          <a:solidFill>
            <a:srgbClr val="00000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47" tIns="93247" rIns="93247" bIns="9324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139"/>
            <a:endParaRPr lang="en-US" sz="1223" dirty="0">
              <a:solidFill>
                <a:srgbClr val="FFFFFF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87" y="224340"/>
            <a:ext cx="1737792" cy="63906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70388" y="2395075"/>
            <a:ext cx="4633333" cy="1929181"/>
          </a:xfrm>
          <a:noFill/>
        </p:spPr>
        <p:txBody>
          <a:bodyPr vert="horz" lIns="137160" tIns="91440" rIns="91440" bIns="0" rtlCol="0" anchor="b" anchorCtr="0">
            <a:normAutofit/>
          </a:bodyPr>
          <a:lstStyle>
            <a:lvl1pPr marL="0" algn="l" defTabSz="11095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95" b="0" kern="1200" cap="none" spc="-102" baseline="0" dirty="0">
                <a:solidFill>
                  <a:srgbClr val="FFB900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3724" y="5670380"/>
            <a:ext cx="3784600" cy="889380"/>
          </a:xfrm>
        </p:spPr>
        <p:txBody>
          <a:bodyPr lIns="137160" tIns="91440" rIns="137160" bIns="13716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427">
                <a:solidFill>
                  <a:schemeClr val="bg1"/>
                </a:solidFill>
              </a:defRPr>
            </a:lvl1pPr>
            <a:lvl2pPr marL="287218" indent="0">
              <a:buNone/>
              <a:defRPr sz="2040">
                <a:solidFill>
                  <a:schemeClr val="bg1"/>
                </a:solidFill>
              </a:defRPr>
            </a:lvl2pPr>
            <a:lvl3pPr marL="600055" indent="0">
              <a:buNone/>
              <a:defRPr sz="2040">
                <a:solidFill>
                  <a:schemeClr val="bg1"/>
                </a:solidFill>
              </a:defRPr>
            </a:lvl3pPr>
            <a:lvl4pPr marL="887274" indent="0">
              <a:buNone/>
              <a:defRPr sz="2040">
                <a:solidFill>
                  <a:schemeClr val="bg1"/>
                </a:solidFill>
              </a:defRPr>
            </a:lvl4pPr>
            <a:lvl5pPr marL="1127295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14325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4127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1" t="11148" r="5121" b="21028"/>
          <a:stretch/>
        </p:blipFill>
        <p:spPr>
          <a:xfrm>
            <a:off x="0" y="0"/>
            <a:ext cx="12192000" cy="686578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 rot="10800000">
            <a:off x="-1" y="3883079"/>
            <a:ext cx="12192000" cy="300983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60000"/>
                </a:schemeClr>
              </a:gs>
              <a:gs pos="53000">
                <a:schemeClr val="bg2">
                  <a:lumMod val="10000"/>
                  <a:alpha val="0"/>
                </a:schemeClr>
              </a:gs>
            </a:gsLst>
            <a:lin ang="48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4773829"/>
            <a:ext cx="8067824" cy="1793103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96403" y="4773828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96404" y="5745801"/>
            <a:ext cx="8040659" cy="62854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745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4017" y="6084311"/>
            <a:ext cx="1737792" cy="63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9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1" t="11148" r="5121" b="21028"/>
          <a:stretch/>
        </p:blipFill>
        <p:spPr>
          <a:xfrm>
            <a:off x="0" y="0"/>
            <a:ext cx="12192000" cy="686578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 rot="10800000">
            <a:off x="-1" y="3883079"/>
            <a:ext cx="12192000" cy="300983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60000"/>
                </a:schemeClr>
              </a:gs>
              <a:gs pos="53000">
                <a:schemeClr val="bg2">
                  <a:lumMod val="10000"/>
                  <a:alpha val="0"/>
                </a:schemeClr>
              </a:gs>
            </a:gsLst>
            <a:lin ang="48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96404" y="5745801"/>
            <a:ext cx="8040659" cy="62854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745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4017" y="6084311"/>
            <a:ext cx="1737792" cy="63906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auto">
          <a:xfrm>
            <a:off x="269239" y="4773829"/>
            <a:ext cx="8067824" cy="1793103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96403" y="4787297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166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15751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9324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134503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47595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10768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04114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08006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86767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69984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94534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55498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48424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6663381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18643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39590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86833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1C50A-4962-42C2-A1C4-6920EBFEE475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5A1CC-63E9-4AAD-A47A-9945CF0627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52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  <p:sp>
        <p:nvSpPr>
          <p:cNvPr id="35" name="Rectangle 34"/>
          <p:cNvSpPr/>
          <p:nvPr userDrawn="1"/>
        </p:nvSpPr>
        <p:spPr bwMode="auto">
          <a:xfrm>
            <a:off x="-217599" y="6858000"/>
            <a:ext cx="125330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077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743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73">
          <p15:clr>
            <a:srgbClr val="5ACBF0"/>
          </p15:clr>
        </p15:guide>
        <p15:guide id="9" pos="3917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075">
          <p15:clr>
            <a:srgbClr val="C35EA4"/>
          </p15:clr>
        </p15:guide>
        <p15:guide id="27" pos="3797">
          <p15:clr>
            <a:srgbClr val="5ACBF0"/>
          </p15:clr>
        </p15:guide>
        <p15:guide id="28" pos="4013">
          <p15:clr>
            <a:srgbClr val="5ACBF0"/>
          </p15:clr>
        </p15:guide>
        <p15:guide id="29" orient="horz" pos="3883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2378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3" r:id="rId2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999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1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 dirty="0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57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2366230" y="-217"/>
            <a:ext cx="940152" cy="5654619"/>
            <a:chOff x="12614198" y="-221"/>
            <a:chExt cx="959004" cy="5767187"/>
          </a:xfrm>
        </p:grpSpPr>
        <p:grpSp>
          <p:nvGrpSpPr>
            <p:cNvPr id="37" name="Group 36"/>
            <p:cNvGrpSpPr/>
            <p:nvPr userDrawn="1"/>
          </p:nvGrpSpPr>
          <p:grpSpPr>
            <a:xfrm>
              <a:off x="12614198" y="-221"/>
              <a:ext cx="959004" cy="5716010"/>
              <a:chOff x="12614198" y="-221"/>
              <a:chExt cx="959004" cy="5716010"/>
            </a:xfrm>
          </p:grpSpPr>
          <p:grpSp>
            <p:nvGrpSpPr>
              <p:cNvPr id="33" name="Group 32"/>
              <p:cNvGrpSpPr/>
              <p:nvPr userDrawn="1"/>
            </p:nvGrpSpPr>
            <p:grpSpPr>
              <a:xfrm rot="5400000">
                <a:off x="11576883" y="1040117"/>
                <a:ext cx="2708636" cy="634005"/>
                <a:chOff x="1581150" y="4543426"/>
                <a:chExt cx="2708636" cy="634005"/>
              </a:xfrm>
            </p:grpSpPr>
            <p:sp>
              <p:nvSpPr>
                <p:cNvPr id="3" name="Rectangle 2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45 B:145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" name="Rectangle 5"/>
                <p:cNvSpPr/>
                <p:nvPr userDrawn="1"/>
              </p:nvSpPr>
              <p:spPr bwMode="auto">
                <a:xfrm>
                  <a:off x="1581150" y="4887665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Purpl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50 G:20 B:90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" name="Rectangle 14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32 B:80</a:t>
                  </a:r>
                  <a:endParaRPr lang="en-US" sz="490" dirty="0">
                    <a:gradFill>
                      <a:gsLst>
                        <a:gs pos="1775">
                          <a:schemeClr val="bg1"/>
                        </a:gs>
                        <a:gs pos="14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" name="Rectangle 15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Magenta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80 G:0 B:158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" name="Rectangle 16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Gray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80 G:80 B:80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8" name="Rectangle 17"/>
                <p:cNvSpPr/>
                <p:nvPr userDrawn="1"/>
              </p:nvSpPr>
              <p:spPr bwMode="auto">
                <a:xfrm>
                  <a:off x="2498745" y="4543428"/>
                  <a:ext cx="869930" cy="289766"/>
                </a:xfrm>
                <a:prstGeom prst="rect">
                  <a:avLst/>
                </a:prstGeom>
                <a:solidFill>
                  <a:srgbClr val="3076B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4" name="TextBox 33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5" name="TextBox 34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980" baseline="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19" name="Rectangle 18"/>
            <p:cNvSpPr/>
            <p:nvPr userDrawn="1"/>
          </p:nvSpPr>
          <p:spPr bwMode="auto">
            <a:xfrm rot="5400000">
              <a:off x="12328887" y="4272718"/>
              <a:ext cx="869930" cy="289766"/>
            </a:xfrm>
            <a:prstGeom prst="rect">
              <a:avLst/>
            </a:prstGeom>
            <a:solidFill>
              <a:srgbClr val="0018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Mid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490" baseline="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24 B:143</a:t>
              </a:r>
              <a:endParaRPr lang="en-US" sz="490" dirty="0">
                <a:gradFill>
                  <a:gsLst>
                    <a:gs pos="18584">
                      <a:srgbClr val="FFFFFF"/>
                    </a:gs>
                    <a:gs pos="52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 rot="5400000">
              <a:off x="12328887" y="5187118"/>
              <a:ext cx="869930" cy="289766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Green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 G:124 B:16</a:t>
              </a:r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 rot="5400000">
              <a:off x="12328886" y="3353996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490" baseline="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 G:188 B:242</a:t>
              </a:r>
              <a:endParaRPr lang="en-US" sz="490" dirty="0">
                <a:gradFill>
                  <a:gsLst>
                    <a:gs pos="66272">
                      <a:srgbClr val="000000"/>
                    </a:gs>
                    <a:gs pos="44000">
                      <a:srgbClr val="000000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328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1466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9" r:id="rId24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370902" y="-8231"/>
            <a:ext cx="936855" cy="5662633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49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3927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2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95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  <p:sldLayoutId id="2147483892" r:id="rId22"/>
    <p:sldLayoutId id="2147483893" r:id="rId2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999" y="1122362"/>
            <a:ext cx="9349869" cy="1871131"/>
          </a:xfrm>
        </p:spPr>
        <p:txBody>
          <a:bodyPr>
            <a:noAutofit/>
          </a:bodyPr>
          <a:lstStyle/>
          <a:p>
            <a:r>
              <a:rPr lang="en-GB" sz="660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zure Search</a:t>
            </a:r>
            <a:endParaRPr lang="en-GB" sz="4400" b="1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43305" y="4467951"/>
            <a:ext cx="9144000" cy="1655762"/>
          </a:xfrm>
        </p:spPr>
        <p:txBody>
          <a:bodyPr/>
          <a:lstStyle/>
          <a:p>
            <a:endParaRPr lang="en-GB" dirty="0"/>
          </a:p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anca Furtuna</a:t>
            </a:r>
          </a:p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chnical Evangelist</a:t>
            </a:r>
          </a:p>
          <a:p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369775" y="3742600"/>
            <a:ext cx="10822225" cy="3115400"/>
            <a:chOff x="1646238" y="3891204"/>
            <a:chExt cx="10823760" cy="3115842"/>
          </a:xfrm>
        </p:grpSpPr>
        <p:sp>
          <p:nvSpPr>
            <p:cNvPr id="5" name="Freeform 34"/>
            <p:cNvSpPr>
              <a:spLocks/>
            </p:cNvSpPr>
            <p:nvPr/>
          </p:nvSpPr>
          <p:spPr bwMode="auto">
            <a:xfrm>
              <a:off x="2941546" y="6158008"/>
              <a:ext cx="225610" cy="673358"/>
            </a:xfrm>
            <a:custGeom>
              <a:avLst/>
              <a:gdLst>
                <a:gd name="T0" fmla="*/ 144 w 260"/>
                <a:gd name="T1" fmla="*/ 0 h 776"/>
                <a:gd name="T2" fmla="*/ 0 w 260"/>
                <a:gd name="T3" fmla="*/ 776 h 776"/>
                <a:gd name="T4" fmla="*/ 260 w 260"/>
                <a:gd name="T5" fmla="*/ 776 h 776"/>
                <a:gd name="T6" fmla="*/ 144 w 260"/>
                <a:gd name="T7" fmla="*/ 0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776">
                  <a:moveTo>
                    <a:pt x="144" y="0"/>
                  </a:moveTo>
                  <a:lnTo>
                    <a:pt x="0" y="776"/>
                  </a:lnTo>
                  <a:lnTo>
                    <a:pt x="260" y="776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646238" y="6071588"/>
              <a:ext cx="10823760" cy="935458"/>
              <a:chOff x="1646238" y="4678597"/>
              <a:chExt cx="10823760" cy="2328447"/>
            </a:xfrm>
          </p:grpSpPr>
          <p:sp>
            <p:nvSpPr>
              <p:cNvPr id="74" name="Freeform 36"/>
              <p:cNvSpPr>
                <a:spLocks/>
              </p:cNvSpPr>
              <p:nvPr/>
            </p:nvSpPr>
            <p:spPr bwMode="auto">
              <a:xfrm>
                <a:off x="4872038" y="6195831"/>
                <a:ext cx="3895725" cy="811213"/>
              </a:xfrm>
              <a:custGeom>
                <a:avLst/>
                <a:gdLst>
                  <a:gd name="T0" fmla="*/ 641 w 1037"/>
                  <a:gd name="T1" fmla="*/ 10 h 215"/>
                  <a:gd name="T2" fmla="*/ 629 w 1037"/>
                  <a:gd name="T3" fmla="*/ 8 h 215"/>
                  <a:gd name="T4" fmla="*/ 601 w 1037"/>
                  <a:gd name="T5" fmla="*/ 5 h 215"/>
                  <a:gd name="T6" fmla="*/ 544 w 1037"/>
                  <a:gd name="T7" fmla="*/ 1 h 215"/>
                  <a:gd name="T8" fmla="*/ 512 w 1037"/>
                  <a:gd name="T9" fmla="*/ 0 h 215"/>
                  <a:gd name="T10" fmla="*/ 0 w 1037"/>
                  <a:gd name="T11" fmla="*/ 215 h 215"/>
                  <a:gd name="T12" fmla="*/ 367 w 1037"/>
                  <a:gd name="T13" fmla="*/ 215 h 215"/>
                  <a:gd name="T14" fmla="*/ 1037 w 1037"/>
                  <a:gd name="T15" fmla="*/ 215 h 215"/>
                  <a:gd name="T16" fmla="*/ 641 w 1037"/>
                  <a:gd name="T17" fmla="*/ 1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7" h="215">
                    <a:moveTo>
                      <a:pt x="641" y="10"/>
                    </a:moveTo>
                    <a:cubicBezTo>
                      <a:pt x="637" y="10"/>
                      <a:pt x="633" y="9"/>
                      <a:pt x="629" y="8"/>
                    </a:cubicBezTo>
                    <a:cubicBezTo>
                      <a:pt x="620" y="7"/>
                      <a:pt x="611" y="6"/>
                      <a:pt x="601" y="5"/>
                    </a:cubicBezTo>
                    <a:cubicBezTo>
                      <a:pt x="582" y="2"/>
                      <a:pt x="563" y="1"/>
                      <a:pt x="544" y="1"/>
                    </a:cubicBezTo>
                    <a:cubicBezTo>
                      <a:pt x="533" y="0"/>
                      <a:pt x="523" y="0"/>
                      <a:pt x="512" y="0"/>
                    </a:cubicBezTo>
                    <a:cubicBezTo>
                      <a:pt x="327" y="2"/>
                      <a:pt x="142" y="73"/>
                      <a:pt x="0" y="215"/>
                    </a:cubicBezTo>
                    <a:cubicBezTo>
                      <a:pt x="367" y="215"/>
                      <a:pt x="367" y="215"/>
                      <a:pt x="367" y="215"/>
                    </a:cubicBezTo>
                    <a:cubicBezTo>
                      <a:pt x="1037" y="215"/>
                      <a:pt x="1037" y="215"/>
                      <a:pt x="1037" y="215"/>
                    </a:cubicBezTo>
                    <a:cubicBezTo>
                      <a:pt x="925" y="103"/>
                      <a:pt x="786" y="35"/>
                      <a:pt x="641" y="10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37"/>
              <p:cNvSpPr>
                <a:spLocks/>
              </p:cNvSpPr>
              <p:nvPr/>
            </p:nvSpPr>
            <p:spPr bwMode="auto">
              <a:xfrm>
                <a:off x="1646238" y="5759268"/>
                <a:ext cx="5989638" cy="1247775"/>
              </a:xfrm>
              <a:custGeom>
                <a:avLst/>
                <a:gdLst>
                  <a:gd name="T0" fmla="*/ 985 w 1595"/>
                  <a:gd name="T1" fmla="*/ 16 h 331"/>
                  <a:gd name="T2" fmla="*/ 968 w 1595"/>
                  <a:gd name="T3" fmla="*/ 13 h 331"/>
                  <a:gd name="T4" fmla="*/ 925 w 1595"/>
                  <a:gd name="T5" fmla="*/ 7 h 331"/>
                  <a:gd name="T6" fmla="*/ 836 w 1595"/>
                  <a:gd name="T7" fmla="*/ 1 h 331"/>
                  <a:gd name="T8" fmla="*/ 788 w 1595"/>
                  <a:gd name="T9" fmla="*/ 0 h 331"/>
                  <a:gd name="T10" fmla="*/ 0 w 1595"/>
                  <a:gd name="T11" fmla="*/ 331 h 331"/>
                  <a:gd name="T12" fmla="*/ 564 w 1595"/>
                  <a:gd name="T13" fmla="*/ 331 h 331"/>
                  <a:gd name="T14" fmla="*/ 1595 w 1595"/>
                  <a:gd name="T15" fmla="*/ 331 h 331"/>
                  <a:gd name="T16" fmla="*/ 985 w 1595"/>
                  <a:gd name="T17" fmla="*/ 16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5" h="331">
                    <a:moveTo>
                      <a:pt x="985" y="16"/>
                    </a:moveTo>
                    <a:cubicBezTo>
                      <a:pt x="980" y="15"/>
                      <a:pt x="974" y="14"/>
                      <a:pt x="968" y="13"/>
                    </a:cubicBezTo>
                    <a:cubicBezTo>
                      <a:pt x="954" y="11"/>
                      <a:pt x="939" y="9"/>
                      <a:pt x="925" y="7"/>
                    </a:cubicBezTo>
                    <a:cubicBezTo>
                      <a:pt x="895" y="4"/>
                      <a:pt x="866" y="2"/>
                      <a:pt x="836" y="1"/>
                    </a:cubicBezTo>
                    <a:cubicBezTo>
                      <a:pt x="820" y="0"/>
                      <a:pt x="804" y="0"/>
                      <a:pt x="788" y="0"/>
                    </a:cubicBezTo>
                    <a:cubicBezTo>
                      <a:pt x="502" y="3"/>
                      <a:pt x="218" y="113"/>
                      <a:pt x="0" y="331"/>
                    </a:cubicBezTo>
                    <a:cubicBezTo>
                      <a:pt x="564" y="331"/>
                      <a:pt x="564" y="331"/>
                      <a:pt x="564" y="331"/>
                    </a:cubicBezTo>
                    <a:cubicBezTo>
                      <a:pt x="1595" y="331"/>
                      <a:pt x="1595" y="331"/>
                      <a:pt x="1595" y="331"/>
                    </a:cubicBezTo>
                    <a:cubicBezTo>
                      <a:pt x="1422" y="159"/>
                      <a:pt x="1208" y="54"/>
                      <a:pt x="985" y="16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 36"/>
              <p:cNvSpPr>
                <a:spLocks/>
              </p:cNvSpPr>
              <p:nvPr/>
            </p:nvSpPr>
            <p:spPr bwMode="auto">
              <a:xfrm>
                <a:off x="5397370" y="4678597"/>
                <a:ext cx="7072628" cy="2328445"/>
              </a:xfrm>
              <a:custGeom>
                <a:avLst/>
                <a:gdLst>
                  <a:gd name="T0" fmla="*/ 641 w 1037"/>
                  <a:gd name="T1" fmla="*/ 10 h 215"/>
                  <a:gd name="T2" fmla="*/ 629 w 1037"/>
                  <a:gd name="T3" fmla="*/ 8 h 215"/>
                  <a:gd name="T4" fmla="*/ 601 w 1037"/>
                  <a:gd name="T5" fmla="*/ 5 h 215"/>
                  <a:gd name="T6" fmla="*/ 544 w 1037"/>
                  <a:gd name="T7" fmla="*/ 1 h 215"/>
                  <a:gd name="T8" fmla="*/ 512 w 1037"/>
                  <a:gd name="T9" fmla="*/ 0 h 215"/>
                  <a:gd name="T10" fmla="*/ 0 w 1037"/>
                  <a:gd name="T11" fmla="*/ 215 h 215"/>
                  <a:gd name="T12" fmla="*/ 367 w 1037"/>
                  <a:gd name="T13" fmla="*/ 215 h 215"/>
                  <a:gd name="T14" fmla="*/ 1037 w 1037"/>
                  <a:gd name="T15" fmla="*/ 215 h 215"/>
                  <a:gd name="T16" fmla="*/ 641 w 1037"/>
                  <a:gd name="T17" fmla="*/ 10 h 215"/>
                  <a:gd name="connsiteX0" fmla="*/ 10020 w 10457"/>
                  <a:gd name="connsiteY0" fmla="*/ 0 h 15493"/>
                  <a:gd name="connsiteX1" fmla="*/ 6066 w 10457"/>
                  <a:gd name="connsiteY1" fmla="*/ 5865 h 15493"/>
                  <a:gd name="connsiteX2" fmla="*/ 5796 w 10457"/>
                  <a:gd name="connsiteY2" fmla="*/ 5726 h 15493"/>
                  <a:gd name="connsiteX3" fmla="*/ 5246 w 10457"/>
                  <a:gd name="connsiteY3" fmla="*/ 5540 h 15493"/>
                  <a:gd name="connsiteX4" fmla="*/ 4937 w 10457"/>
                  <a:gd name="connsiteY4" fmla="*/ 5493 h 15493"/>
                  <a:gd name="connsiteX5" fmla="*/ 0 w 10457"/>
                  <a:gd name="connsiteY5" fmla="*/ 15493 h 15493"/>
                  <a:gd name="connsiteX6" fmla="*/ 3539 w 10457"/>
                  <a:gd name="connsiteY6" fmla="*/ 15493 h 15493"/>
                  <a:gd name="connsiteX7" fmla="*/ 10000 w 10457"/>
                  <a:gd name="connsiteY7" fmla="*/ 15493 h 15493"/>
                  <a:gd name="connsiteX8" fmla="*/ 10020 w 10457"/>
                  <a:gd name="connsiteY8" fmla="*/ 0 h 15493"/>
                  <a:gd name="connsiteX0" fmla="*/ 10020 w 10639"/>
                  <a:gd name="connsiteY0" fmla="*/ 0 h 15493"/>
                  <a:gd name="connsiteX1" fmla="*/ 6066 w 10639"/>
                  <a:gd name="connsiteY1" fmla="*/ 5865 h 15493"/>
                  <a:gd name="connsiteX2" fmla="*/ 5796 w 10639"/>
                  <a:gd name="connsiteY2" fmla="*/ 5726 h 15493"/>
                  <a:gd name="connsiteX3" fmla="*/ 5246 w 10639"/>
                  <a:gd name="connsiteY3" fmla="*/ 5540 h 15493"/>
                  <a:gd name="connsiteX4" fmla="*/ 4937 w 10639"/>
                  <a:gd name="connsiteY4" fmla="*/ 5493 h 15493"/>
                  <a:gd name="connsiteX5" fmla="*/ 0 w 10639"/>
                  <a:gd name="connsiteY5" fmla="*/ 15493 h 15493"/>
                  <a:gd name="connsiteX6" fmla="*/ 3539 w 10639"/>
                  <a:gd name="connsiteY6" fmla="*/ 15493 h 15493"/>
                  <a:gd name="connsiteX7" fmla="*/ 10000 w 10639"/>
                  <a:gd name="connsiteY7" fmla="*/ 15493 h 15493"/>
                  <a:gd name="connsiteX8" fmla="*/ 10020 w 10639"/>
                  <a:gd name="connsiteY8" fmla="*/ 0 h 15493"/>
                  <a:gd name="connsiteX0" fmla="*/ 10020 w 10023"/>
                  <a:gd name="connsiteY0" fmla="*/ 0 h 15493"/>
                  <a:gd name="connsiteX1" fmla="*/ 6066 w 10023"/>
                  <a:gd name="connsiteY1" fmla="*/ 5865 h 15493"/>
                  <a:gd name="connsiteX2" fmla="*/ 5796 w 10023"/>
                  <a:gd name="connsiteY2" fmla="*/ 5726 h 15493"/>
                  <a:gd name="connsiteX3" fmla="*/ 5246 w 10023"/>
                  <a:gd name="connsiteY3" fmla="*/ 5540 h 15493"/>
                  <a:gd name="connsiteX4" fmla="*/ 4937 w 10023"/>
                  <a:gd name="connsiteY4" fmla="*/ 5493 h 15493"/>
                  <a:gd name="connsiteX5" fmla="*/ 0 w 10023"/>
                  <a:gd name="connsiteY5" fmla="*/ 15493 h 15493"/>
                  <a:gd name="connsiteX6" fmla="*/ 3539 w 10023"/>
                  <a:gd name="connsiteY6" fmla="*/ 15493 h 15493"/>
                  <a:gd name="connsiteX7" fmla="*/ 10000 w 10023"/>
                  <a:gd name="connsiteY7" fmla="*/ 15493 h 15493"/>
                  <a:gd name="connsiteX8" fmla="*/ 10020 w 10023"/>
                  <a:gd name="connsiteY8" fmla="*/ 0 h 15493"/>
                  <a:gd name="connsiteX0" fmla="*/ 9980 w 10003"/>
                  <a:gd name="connsiteY0" fmla="*/ 0 h 15815"/>
                  <a:gd name="connsiteX1" fmla="*/ 6066 w 10003"/>
                  <a:gd name="connsiteY1" fmla="*/ 6187 h 15815"/>
                  <a:gd name="connsiteX2" fmla="*/ 5796 w 10003"/>
                  <a:gd name="connsiteY2" fmla="*/ 6048 h 15815"/>
                  <a:gd name="connsiteX3" fmla="*/ 5246 w 10003"/>
                  <a:gd name="connsiteY3" fmla="*/ 5862 h 15815"/>
                  <a:gd name="connsiteX4" fmla="*/ 4937 w 10003"/>
                  <a:gd name="connsiteY4" fmla="*/ 5815 h 15815"/>
                  <a:gd name="connsiteX5" fmla="*/ 0 w 10003"/>
                  <a:gd name="connsiteY5" fmla="*/ 15815 h 15815"/>
                  <a:gd name="connsiteX6" fmla="*/ 3539 w 10003"/>
                  <a:gd name="connsiteY6" fmla="*/ 15815 h 15815"/>
                  <a:gd name="connsiteX7" fmla="*/ 10000 w 10003"/>
                  <a:gd name="connsiteY7" fmla="*/ 15815 h 15815"/>
                  <a:gd name="connsiteX8" fmla="*/ 9980 w 10003"/>
                  <a:gd name="connsiteY8" fmla="*/ 0 h 1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3" h="15815">
                    <a:moveTo>
                      <a:pt x="9980" y="0"/>
                    </a:moveTo>
                    <a:cubicBezTo>
                      <a:pt x="9942" y="0"/>
                      <a:pt x="6104" y="6234"/>
                      <a:pt x="6066" y="6187"/>
                    </a:cubicBezTo>
                    <a:cubicBezTo>
                      <a:pt x="5979" y="6141"/>
                      <a:pt x="5892" y="6094"/>
                      <a:pt x="5796" y="6048"/>
                    </a:cubicBezTo>
                    <a:cubicBezTo>
                      <a:pt x="5612" y="5908"/>
                      <a:pt x="5429" y="5862"/>
                      <a:pt x="5246" y="5862"/>
                    </a:cubicBezTo>
                    <a:cubicBezTo>
                      <a:pt x="5140" y="5815"/>
                      <a:pt x="5043" y="5815"/>
                      <a:pt x="4937" y="5815"/>
                    </a:cubicBezTo>
                    <a:cubicBezTo>
                      <a:pt x="3153" y="5908"/>
                      <a:pt x="1369" y="9210"/>
                      <a:pt x="0" y="15815"/>
                    </a:cubicBezTo>
                    <a:lnTo>
                      <a:pt x="3539" y="15815"/>
                    </a:lnTo>
                    <a:lnTo>
                      <a:pt x="10000" y="15815"/>
                    </a:lnTo>
                    <a:cubicBezTo>
                      <a:pt x="10011" y="4326"/>
                      <a:pt x="9991" y="5833"/>
                      <a:pt x="9980" y="0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38"/>
              <p:cNvSpPr>
                <a:spLocks/>
              </p:cNvSpPr>
              <p:nvPr/>
            </p:nvSpPr>
            <p:spPr bwMode="auto">
              <a:xfrm>
                <a:off x="7722099" y="5764031"/>
                <a:ext cx="2136775" cy="1243013"/>
              </a:xfrm>
              <a:custGeom>
                <a:avLst/>
                <a:gdLst>
                  <a:gd name="T0" fmla="*/ 569 w 569"/>
                  <a:gd name="T1" fmla="*/ 1 h 330"/>
                  <a:gd name="T2" fmla="*/ 559 w 569"/>
                  <a:gd name="T3" fmla="*/ 0 h 330"/>
                  <a:gd name="T4" fmla="*/ 0 w 569"/>
                  <a:gd name="T5" fmla="*/ 330 h 330"/>
                  <a:gd name="T6" fmla="*/ 106 w 569"/>
                  <a:gd name="T7" fmla="*/ 330 h 330"/>
                  <a:gd name="T8" fmla="*/ 569 w 569"/>
                  <a:gd name="T9" fmla="*/ 1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30">
                    <a:moveTo>
                      <a:pt x="569" y="1"/>
                    </a:moveTo>
                    <a:cubicBezTo>
                      <a:pt x="565" y="1"/>
                      <a:pt x="562" y="0"/>
                      <a:pt x="559" y="0"/>
                    </a:cubicBezTo>
                    <a:cubicBezTo>
                      <a:pt x="221" y="64"/>
                      <a:pt x="0" y="330"/>
                      <a:pt x="0" y="330"/>
                    </a:cubicBezTo>
                    <a:cubicBezTo>
                      <a:pt x="106" y="330"/>
                      <a:pt x="106" y="330"/>
                      <a:pt x="106" y="330"/>
                    </a:cubicBezTo>
                    <a:cubicBezTo>
                      <a:pt x="106" y="330"/>
                      <a:pt x="315" y="75"/>
                      <a:pt x="569" y="1"/>
                    </a:cubicBez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40"/>
              <p:cNvSpPr>
                <a:spLocks/>
              </p:cNvSpPr>
              <p:nvPr/>
            </p:nvSpPr>
            <p:spPr bwMode="auto">
              <a:xfrm>
                <a:off x="8004513" y="5876065"/>
                <a:ext cx="3854877" cy="1130979"/>
              </a:xfrm>
              <a:custGeom>
                <a:avLst/>
                <a:gdLst>
                  <a:gd name="T0" fmla="*/ 686 w 686"/>
                  <a:gd name="T1" fmla="*/ 36 h 329"/>
                  <a:gd name="T2" fmla="*/ 463 w 686"/>
                  <a:gd name="T3" fmla="*/ 0 h 329"/>
                  <a:gd name="T4" fmla="*/ 0 w 686"/>
                  <a:gd name="T5" fmla="*/ 329 h 329"/>
                  <a:gd name="T6" fmla="*/ 543 w 686"/>
                  <a:gd name="T7" fmla="*/ 329 h 329"/>
                  <a:gd name="T8" fmla="*/ 686 w 686"/>
                  <a:gd name="T9" fmla="*/ 36 h 329"/>
                  <a:gd name="connsiteX0" fmla="*/ 10000 w 10000"/>
                  <a:gd name="connsiteY0" fmla="*/ 216 h 9122"/>
                  <a:gd name="connsiteX1" fmla="*/ 4130 w 10000"/>
                  <a:gd name="connsiteY1" fmla="*/ 269 h 9122"/>
                  <a:gd name="connsiteX2" fmla="*/ 0 w 10000"/>
                  <a:gd name="connsiteY2" fmla="*/ 9122 h 9122"/>
                  <a:gd name="connsiteX3" fmla="*/ 7915 w 10000"/>
                  <a:gd name="connsiteY3" fmla="*/ 9122 h 9122"/>
                  <a:gd name="connsiteX4" fmla="*/ 10000 w 10000"/>
                  <a:gd name="connsiteY4" fmla="*/ 216 h 9122"/>
                  <a:gd name="connsiteX0" fmla="*/ 10000 w 10000"/>
                  <a:gd name="connsiteY0" fmla="*/ 237 h 10000"/>
                  <a:gd name="connsiteX1" fmla="*/ 4130 w 10000"/>
                  <a:gd name="connsiteY1" fmla="*/ 295 h 10000"/>
                  <a:gd name="connsiteX2" fmla="*/ 0 w 10000"/>
                  <a:gd name="connsiteY2" fmla="*/ 10000 h 10000"/>
                  <a:gd name="connsiteX3" fmla="*/ 7915 w 10000"/>
                  <a:gd name="connsiteY3" fmla="*/ 10000 h 10000"/>
                  <a:gd name="connsiteX4" fmla="*/ 10000 w 10000"/>
                  <a:gd name="connsiteY4" fmla="*/ 237 h 10000"/>
                  <a:gd name="connsiteX0" fmla="*/ 10000 w 10000"/>
                  <a:gd name="connsiteY0" fmla="*/ 237 h 10000"/>
                  <a:gd name="connsiteX1" fmla="*/ 3998 w 10000"/>
                  <a:gd name="connsiteY1" fmla="*/ 295 h 10000"/>
                  <a:gd name="connsiteX2" fmla="*/ 0 w 10000"/>
                  <a:gd name="connsiteY2" fmla="*/ 10000 h 10000"/>
                  <a:gd name="connsiteX3" fmla="*/ 7915 w 10000"/>
                  <a:gd name="connsiteY3" fmla="*/ 10000 h 10000"/>
                  <a:gd name="connsiteX4" fmla="*/ 10000 w 10000"/>
                  <a:gd name="connsiteY4" fmla="*/ 237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10000" y="237"/>
                    </a:moveTo>
                    <a:cubicBezTo>
                      <a:pt x="8936" y="-396"/>
                      <a:pt x="5092" y="462"/>
                      <a:pt x="3998" y="295"/>
                    </a:cubicBezTo>
                    <a:cubicBezTo>
                      <a:pt x="1680" y="2760"/>
                      <a:pt x="0" y="10000"/>
                      <a:pt x="0" y="10000"/>
                    </a:cubicBezTo>
                    <a:lnTo>
                      <a:pt x="7915" y="10000"/>
                    </a:lnTo>
                    <a:cubicBezTo>
                      <a:pt x="7566" y="4669"/>
                      <a:pt x="9883" y="470"/>
                      <a:pt x="10000" y="237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39"/>
              <p:cNvSpPr>
                <a:spLocks/>
              </p:cNvSpPr>
              <p:nvPr/>
            </p:nvSpPr>
            <p:spPr bwMode="auto">
              <a:xfrm>
                <a:off x="10929041" y="5902143"/>
                <a:ext cx="942583" cy="1104901"/>
              </a:xfrm>
              <a:custGeom>
                <a:avLst/>
                <a:gdLst>
                  <a:gd name="T0" fmla="*/ 187 w 187"/>
                  <a:gd name="T1" fmla="*/ 6 h 293"/>
                  <a:gd name="T2" fmla="*/ 167 w 187"/>
                  <a:gd name="T3" fmla="*/ 0 h 293"/>
                  <a:gd name="T4" fmla="*/ 24 w 187"/>
                  <a:gd name="T5" fmla="*/ 293 h 293"/>
                  <a:gd name="T6" fmla="*/ 67 w 187"/>
                  <a:gd name="T7" fmla="*/ 293 h 293"/>
                  <a:gd name="T8" fmla="*/ 187 w 187"/>
                  <a:gd name="T9" fmla="*/ 6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93">
                    <a:moveTo>
                      <a:pt x="187" y="6"/>
                    </a:moveTo>
                    <a:cubicBezTo>
                      <a:pt x="181" y="4"/>
                      <a:pt x="174" y="2"/>
                      <a:pt x="167" y="0"/>
                    </a:cubicBezTo>
                    <a:cubicBezTo>
                      <a:pt x="159" y="7"/>
                      <a:pt x="0" y="133"/>
                      <a:pt x="24" y="293"/>
                    </a:cubicBezTo>
                    <a:cubicBezTo>
                      <a:pt x="67" y="293"/>
                      <a:pt x="67" y="293"/>
                      <a:pt x="67" y="293"/>
                    </a:cubicBezTo>
                    <a:cubicBezTo>
                      <a:pt x="35" y="129"/>
                      <a:pt x="187" y="6"/>
                      <a:pt x="187" y="6"/>
                    </a:cubicBez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Rectangle 35"/>
            <p:cNvSpPr>
              <a:spLocks noChangeArrowheads="1"/>
            </p:cNvSpPr>
            <p:nvPr/>
          </p:nvSpPr>
          <p:spPr bwMode="auto">
            <a:xfrm>
              <a:off x="6146107" y="6507102"/>
              <a:ext cx="68376" cy="257724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36"/>
            <p:cNvSpPr>
              <a:spLocks noChangeArrowheads="1"/>
            </p:cNvSpPr>
            <p:nvPr/>
          </p:nvSpPr>
          <p:spPr bwMode="auto">
            <a:xfrm>
              <a:off x="6006726" y="6279621"/>
              <a:ext cx="341878" cy="341878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37"/>
            <p:cNvSpPr>
              <a:spLocks noChangeArrowheads="1"/>
            </p:cNvSpPr>
            <p:nvPr/>
          </p:nvSpPr>
          <p:spPr bwMode="auto">
            <a:xfrm>
              <a:off x="6052748" y="6103422"/>
              <a:ext cx="252464" cy="251149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38"/>
            <p:cNvSpPr>
              <a:spLocks noChangeArrowheads="1"/>
            </p:cNvSpPr>
            <p:nvPr/>
          </p:nvSpPr>
          <p:spPr bwMode="auto">
            <a:xfrm>
              <a:off x="6594494" y="6507102"/>
              <a:ext cx="67061" cy="257724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39"/>
            <p:cNvSpPr>
              <a:spLocks noChangeArrowheads="1"/>
            </p:cNvSpPr>
            <p:nvPr/>
          </p:nvSpPr>
          <p:spPr bwMode="auto">
            <a:xfrm>
              <a:off x="6453798" y="6279621"/>
              <a:ext cx="344508" cy="341878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0"/>
            <p:cNvSpPr>
              <a:spLocks noChangeArrowheads="1"/>
            </p:cNvSpPr>
            <p:nvPr/>
          </p:nvSpPr>
          <p:spPr bwMode="auto">
            <a:xfrm>
              <a:off x="6501135" y="6103422"/>
              <a:ext cx="251150" cy="251149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8716828" y="3891204"/>
              <a:ext cx="3719020" cy="2669719"/>
              <a:chOff x="9541716" y="4483355"/>
              <a:chExt cx="2894132" cy="2077569"/>
            </a:xfrm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0439805" y="5452449"/>
                <a:ext cx="1307027" cy="1105845"/>
              </a:xfrm>
              <a:custGeom>
                <a:avLst/>
                <a:gdLst>
                  <a:gd name="T0" fmla="*/ 446 w 994"/>
                  <a:gd name="T1" fmla="*/ 141 h 841"/>
                  <a:gd name="T2" fmla="*/ 446 w 994"/>
                  <a:gd name="T3" fmla="*/ 0 h 841"/>
                  <a:gd name="T4" fmla="*/ 337 w 994"/>
                  <a:gd name="T5" fmla="*/ 0 h 841"/>
                  <a:gd name="T6" fmla="*/ 337 w 994"/>
                  <a:gd name="T7" fmla="*/ 141 h 841"/>
                  <a:gd name="T8" fmla="*/ 302 w 994"/>
                  <a:gd name="T9" fmla="*/ 141 h 841"/>
                  <a:gd name="T10" fmla="*/ 302 w 994"/>
                  <a:gd name="T11" fmla="*/ 0 h 841"/>
                  <a:gd name="T12" fmla="*/ 193 w 994"/>
                  <a:gd name="T13" fmla="*/ 0 h 841"/>
                  <a:gd name="T14" fmla="*/ 193 w 994"/>
                  <a:gd name="T15" fmla="*/ 141 h 841"/>
                  <a:gd name="T16" fmla="*/ 0 w 994"/>
                  <a:gd name="T17" fmla="*/ 141 h 841"/>
                  <a:gd name="T18" fmla="*/ 0 w 994"/>
                  <a:gd name="T19" fmla="*/ 177 h 841"/>
                  <a:gd name="T20" fmla="*/ 44 w 994"/>
                  <a:gd name="T21" fmla="*/ 177 h 841"/>
                  <a:gd name="T22" fmla="*/ 44 w 994"/>
                  <a:gd name="T23" fmla="*/ 841 h 841"/>
                  <a:gd name="T24" fmla="*/ 949 w 994"/>
                  <a:gd name="T25" fmla="*/ 841 h 841"/>
                  <a:gd name="T26" fmla="*/ 949 w 994"/>
                  <a:gd name="T27" fmla="*/ 177 h 841"/>
                  <a:gd name="T28" fmla="*/ 994 w 994"/>
                  <a:gd name="T29" fmla="*/ 177 h 841"/>
                  <a:gd name="T30" fmla="*/ 994 w 994"/>
                  <a:gd name="T31" fmla="*/ 141 h 841"/>
                  <a:gd name="T32" fmla="*/ 446 w 994"/>
                  <a:gd name="T33" fmla="*/ 141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4" h="841">
                    <a:moveTo>
                      <a:pt x="446" y="141"/>
                    </a:moveTo>
                    <a:lnTo>
                      <a:pt x="446" y="0"/>
                    </a:lnTo>
                    <a:lnTo>
                      <a:pt x="337" y="0"/>
                    </a:lnTo>
                    <a:lnTo>
                      <a:pt x="337" y="141"/>
                    </a:lnTo>
                    <a:lnTo>
                      <a:pt x="302" y="141"/>
                    </a:lnTo>
                    <a:lnTo>
                      <a:pt x="302" y="0"/>
                    </a:lnTo>
                    <a:lnTo>
                      <a:pt x="193" y="0"/>
                    </a:lnTo>
                    <a:lnTo>
                      <a:pt x="193" y="141"/>
                    </a:lnTo>
                    <a:lnTo>
                      <a:pt x="0" y="141"/>
                    </a:lnTo>
                    <a:lnTo>
                      <a:pt x="0" y="177"/>
                    </a:lnTo>
                    <a:lnTo>
                      <a:pt x="44" y="177"/>
                    </a:lnTo>
                    <a:lnTo>
                      <a:pt x="44" y="841"/>
                    </a:lnTo>
                    <a:lnTo>
                      <a:pt x="949" y="841"/>
                    </a:lnTo>
                    <a:lnTo>
                      <a:pt x="949" y="177"/>
                    </a:lnTo>
                    <a:lnTo>
                      <a:pt x="994" y="177"/>
                    </a:lnTo>
                    <a:lnTo>
                      <a:pt x="994" y="141"/>
                    </a:lnTo>
                    <a:lnTo>
                      <a:pt x="446" y="141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1128821" y="5452449"/>
                <a:ext cx="1307027" cy="1105845"/>
              </a:xfrm>
              <a:custGeom>
                <a:avLst/>
                <a:gdLst>
                  <a:gd name="T0" fmla="*/ 449 w 994"/>
                  <a:gd name="T1" fmla="*/ 141 h 841"/>
                  <a:gd name="T2" fmla="*/ 449 w 994"/>
                  <a:gd name="T3" fmla="*/ 0 h 841"/>
                  <a:gd name="T4" fmla="*/ 340 w 994"/>
                  <a:gd name="T5" fmla="*/ 0 h 841"/>
                  <a:gd name="T6" fmla="*/ 340 w 994"/>
                  <a:gd name="T7" fmla="*/ 141 h 841"/>
                  <a:gd name="T8" fmla="*/ 302 w 994"/>
                  <a:gd name="T9" fmla="*/ 141 h 841"/>
                  <a:gd name="T10" fmla="*/ 302 w 994"/>
                  <a:gd name="T11" fmla="*/ 0 h 841"/>
                  <a:gd name="T12" fmla="*/ 194 w 994"/>
                  <a:gd name="T13" fmla="*/ 0 h 841"/>
                  <a:gd name="T14" fmla="*/ 194 w 994"/>
                  <a:gd name="T15" fmla="*/ 141 h 841"/>
                  <a:gd name="T16" fmla="*/ 0 w 994"/>
                  <a:gd name="T17" fmla="*/ 141 h 841"/>
                  <a:gd name="T18" fmla="*/ 0 w 994"/>
                  <a:gd name="T19" fmla="*/ 177 h 841"/>
                  <a:gd name="T20" fmla="*/ 45 w 994"/>
                  <a:gd name="T21" fmla="*/ 177 h 841"/>
                  <a:gd name="T22" fmla="*/ 45 w 994"/>
                  <a:gd name="T23" fmla="*/ 841 h 841"/>
                  <a:gd name="T24" fmla="*/ 952 w 994"/>
                  <a:gd name="T25" fmla="*/ 841 h 841"/>
                  <a:gd name="T26" fmla="*/ 952 w 994"/>
                  <a:gd name="T27" fmla="*/ 177 h 841"/>
                  <a:gd name="T28" fmla="*/ 994 w 994"/>
                  <a:gd name="T29" fmla="*/ 177 h 841"/>
                  <a:gd name="T30" fmla="*/ 994 w 994"/>
                  <a:gd name="T31" fmla="*/ 141 h 841"/>
                  <a:gd name="T32" fmla="*/ 449 w 994"/>
                  <a:gd name="T33" fmla="*/ 141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4" h="841">
                    <a:moveTo>
                      <a:pt x="449" y="141"/>
                    </a:moveTo>
                    <a:lnTo>
                      <a:pt x="449" y="0"/>
                    </a:lnTo>
                    <a:lnTo>
                      <a:pt x="340" y="0"/>
                    </a:lnTo>
                    <a:lnTo>
                      <a:pt x="340" y="141"/>
                    </a:lnTo>
                    <a:lnTo>
                      <a:pt x="302" y="141"/>
                    </a:lnTo>
                    <a:lnTo>
                      <a:pt x="302" y="0"/>
                    </a:lnTo>
                    <a:lnTo>
                      <a:pt x="194" y="0"/>
                    </a:lnTo>
                    <a:lnTo>
                      <a:pt x="194" y="141"/>
                    </a:lnTo>
                    <a:lnTo>
                      <a:pt x="0" y="141"/>
                    </a:lnTo>
                    <a:lnTo>
                      <a:pt x="0" y="177"/>
                    </a:lnTo>
                    <a:lnTo>
                      <a:pt x="45" y="177"/>
                    </a:lnTo>
                    <a:lnTo>
                      <a:pt x="45" y="841"/>
                    </a:lnTo>
                    <a:lnTo>
                      <a:pt x="952" y="841"/>
                    </a:lnTo>
                    <a:lnTo>
                      <a:pt x="952" y="177"/>
                    </a:lnTo>
                    <a:lnTo>
                      <a:pt x="994" y="177"/>
                    </a:lnTo>
                    <a:lnTo>
                      <a:pt x="994" y="141"/>
                    </a:lnTo>
                    <a:lnTo>
                      <a:pt x="449" y="141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Rectangle 10"/>
              <p:cNvSpPr>
                <a:spLocks noChangeArrowheads="1"/>
              </p:cNvSpPr>
              <p:nvPr/>
            </p:nvSpPr>
            <p:spPr bwMode="auto">
              <a:xfrm>
                <a:off x="9600888" y="5063234"/>
                <a:ext cx="1192630" cy="1497690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Rectangle 11"/>
              <p:cNvSpPr>
                <a:spLocks noChangeArrowheads="1"/>
              </p:cNvSpPr>
              <p:nvPr/>
            </p:nvSpPr>
            <p:spPr bwMode="auto">
              <a:xfrm>
                <a:off x="9541716" y="5017211"/>
                <a:ext cx="1310973" cy="4602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Rectangle 12"/>
              <p:cNvSpPr>
                <a:spLocks noChangeArrowheads="1"/>
              </p:cNvSpPr>
              <p:nvPr/>
            </p:nvSpPr>
            <p:spPr bwMode="auto">
              <a:xfrm>
                <a:off x="9712655" y="5199985"/>
                <a:ext cx="155160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Rectangle 13"/>
              <p:cNvSpPr>
                <a:spLocks noChangeArrowheads="1"/>
              </p:cNvSpPr>
              <p:nvPr/>
            </p:nvSpPr>
            <p:spPr bwMode="auto">
              <a:xfrm>
                <a:off x="9712655" y="5199985"/>
                <a:ext cx="155160" cy="7758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Rectangle 14"/>
              <p:cNvSpPr>
                <a:spLocks noChangeArrowheads="1"/>
              </p:cNvSpPr>
              <p:nvPr/>
            </p:nvSpPr>
            <p:spPr bwMode="auto">
              <a:xfrm>
                <a:off x="9982214" y="5199985"/>
                <a:ext cx="155160" cy="15516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15"/>
              <p:cNvSpPr>
                <a:spLocks noChangeArrowheads="1"/>
              </p:cNvSpPr>
              <p:nvPr/>
            </p:nvSpPr>
            <p:spPr bwMode="auto">
              <a:xfrm>
                <a:off x="10249141" y="5199985"/>
                <a:ext cx="156476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/>
            </p:nvSpPr>
            <p:spPr bwMode="auto">
              <a:xfrm>
                <a:off x="9982214" y="6257178"/>
                <a:ext cx="155160" cy="30374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Rectangle 17"/>
              <p:cNvSpPr>
                <a:spLocks noChangeArrowheads="1"/>
              </p:cNvSpPr>
              <p:nvPr/>
            </p:nvSpPr>
            <p:spPr bwMode="auto">
              <a:xfrm>
                <a:off x="10249141" y="6257178"/>
                <a:ext cx="156476" cy="30374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Rectangle 18"/>
              <p:cNvSpPr>
                <a:spLocks noChangeArrowheads="1"/>
              </p:cNvSpPr>
              <p:nvPr/>
            </p:nvSpPr>
            <p:spPr bwMode="auto">
              <a:xfrm>
                <a:off x="10520014" y="5199985"/>
                <a:ext cx="155160" cy="15516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Rectangle 19"/>
              <p:cNvSpPr>
                <a:spLocks noChangeArrowheads="1"/>
              </p:cNvSpPr>
              <p:nvPr/>
            </p:nvSpPr>
            <p:spPr bwMode="auto">
              <a:xfrm>
                <a:off x="9712655" y="5466913"/>
                <a:ext cx="155160" cy="15647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Rectangle 20"/>
              <p:cNvSpPr>
                <a:spLocks noChangeArrowheads="1"/>
              </p:cNvSpPr>
              <p:nvPr/>
            </p:nvSpPr>
            <p:spPr bwMode="auto">
              <a:xfrm>
                <a:off x="9982214" y="5466913"/>
                <a:ext cx="155160" cy="15647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auto">
              <a:xfrm>
                <a:off x="10249141" y="5466913"/>
                <a:ext cx="156476" cy="15647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22"/>
              <p:cNvSpPr>
                <a:spLocks noChangeArrowheads="1"/>
              </p:cNvSpPr>
              <p:nvPr/>
            </p:nvSpPr>
            <p:spPr bwMode="auto">
              <a:xfrm>
                <a:off x="10520014" y="5466913"/>
                <a:ext cx="155160" cy="15647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Rectangle 23"/>
              <p:cNvSpPr>
                <a:spLocks noChangeArrowheads="1"/>
              </p:cNvSpPr>
              <p:nvPr/>
            </p:nvSpPr>
            <p:spPr bwMode="auto">
              <a:xfrm>
                <a:off x="9712655" y="5737786"/>
                <a:ext cx="155160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24"/>
              <p:cNvSpPr>
                <a:spLocks noChangeArrowheads="1"/>
              </p:cNvSpPr>
              <p:nvPr/>
            </p:nvSpPr>
            <p:spPr bwMode="auto">
              <a:xfrm>
                <a:off x="9982214" y="5737786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25"/>
              <p:cNvSpPr>
                <a:spLocks noChangeArrowheads="1"/>
              </p:cNvSpPr>
              <p:nvPr/>
            </p:nvSpPr>
            <p:spPr bwMode="auto">
              <a:xfrm>
                <a:off x="10249141" y="5737786"/>
                <a:ext cx="156476" cy="15516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Rectangle 26"/>
              <p:cNvSpPr>
                <a:spLocks noChangeArrowheads="1"/>
              </p:cNvSpPr>
              <p:nvPr/>
            </p:nvSpPr>
            <p:spPr bwMode="auto">
              <a:xfrm>
                <a:off x="10520014" y="5737786"/>
                <a:ext cx="155160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Rectangle 27"/>
              <p:cNvSpPr>
                <a:spLocks noChangeArrowheads="1"/>
              </p:cNvSpPr>
              <p:nvPr/>
            </p:nvSpPr>
            <p:spPr bwMode="auto">
              <a:xfrm>
                <a:off x="9712655" y="6004714"/>
                <a:ext cx="155160" cy="15516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Rectangle 28"/>
              <p:cNvSpPr>
                <a:spLocks noChangeArrowheads="1"/>
              </p:cNvSpPr>
              <p:nvPr/>
            </p:nvSpPr>
            <p:spPr bwMode="auto">
              <a:xfrm>
                <a:off x="9982214" y="6004714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Rectangle 29"/>
              <p:cNvSpPr>
                <a:spLocks noChangeArrowheads="1"/>
              </p:cNvSpPr>
              <p:nvPr/>
            </p:nvSpPr>
            <p:spPr bwMode="auto">
              <a:xfrm>
                <a:off x="10249141" y="6004714"/>
                <a:ext cx="156476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Rectangle 30"/>
              <p:cNvSpPr>
                <a:spLocks noChangeArrowheads="1"/>
              </p:cNvSpPr>
              <p:nvPr/>
            </p:nvSpPr>
            <p:spPr bwMode="auto">
              <a:xfrm>
                <a:off x="10520014" y="6004714"/>
                <a:ext cx="155160" cy="15516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Rectangle 31"/>
              <p:cNvSpPr>
                <a:spLocks noChangeArrowheads="1"/>
              </p:cNvSpPr>
              <p:nvPr/>
            </p:nvSpPr>
            <p:spPr bwMode="auto">
              <a:xfrm>
                <a:off x="9712655" y="5737786"/>
                <a:ext cx="155160" cy="7758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Rectangle 32"/>
              <p:cNvSpPr>
                <a:spLocks noChangeArrowheads="1"/>
              </p:cNvSpPr>
              <p:nvPr/>
            </p:nvSpPr>
            <p:spPr bwMode="auto">
              <a:xfrm>
                <a:off x="10520014" y="5737786"/>
                <a:ext cx="155160" cy="7758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ectangle 33"/>
              <p:cNvSpPr>
                <a:spLocks noChangeArrowheads="1"/>
              </p:cNvSpPr>
              <p:nvPr/>
            </p:nvSpPr>
            <p:spPr bwMode="auto">
              <a:xfrm>
                <a:off x="10520014" y="5466913"/>
                <a:ext cx="155160" cy="7889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Rectangle 57"/>
              <p:cNvSpPr>
                <a:spLocks noChangeArrowheads="1"/>
              </p:cNvSpPr>
              <p:nvPr/>
            </p:nvSpPr>
            <p:spPr bwMode="auto">
              <a:xfrm>
                <a:off x="11057816" y="4529377"/>
                <a:ext cx="1188685" cy="2031547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Rectangle 58"/>
              <p:cNvSpPr>
                <a:spLocks noChangeArrowheads="1"/>
              </p:cNvSpPr>
              <p:nvPr/>
            </p:nvSpPr>
            <p:spPr bwMode="auto">
              <a:xfrm>
                <a:off x="10998644" y="4483355"/>
                <a:ext cx="1307027" cy="4602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Rectangle 59"/>
              <p:cNvSpPr>
                <a:spLocks noChangeArrowheads="1"/>
              </p:cNvSpPr>
              <p:nvPr/>
            </p:nvSpPr>
            <p:spPr bwMode="auto">
              <a:xfrm>
                <a:off x="11169583" y="5199985"/>
                <a:ext cx="155160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Rectangle 60"/>
              <p:cNvSpPr>
                <a:spLocks noChangeArrowheads="1"/>
              </p:cNvSpPr>
              <p:nvPr/>
            </p:nvSpPr>
            <p:spPr bwMode="auto">
              <a:xfrm>
                <a:off x="11169583" y="5199985"/>
                <a:ext cx="155160" cy="7758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ctangle 61"/>
              <p:cNvSpPr>
                <a:spLocks noChangeArrowheads="1"/>
              </p:cNvSpPr>
              <p:nvPr/>
            </p:nvSpPr>
            <p:spPr bwMode="auto">
              <a:xfrm>
                <a:off x="11436512" y="5199985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Rectangle 62"/>
              <p:cNvSpPr>
                <a:spLocks noChangeArrowheads="1"/>
              </p:cNvSpPr>
              <p:nvPr/>
            </p:nvSpPr>
            <p:spPr bwMode="auto">
              <a:xfrm>
                <a:off x="11706069" y="5199985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Rectangle 63"/>
              <p:cNvSpPr>
                <a:spLocks noChangeArrowheads="1"/>
              </p:cNvSpPr>
              <p:nvPr/>
            </p:nvSpPr>
            <p:spPr bwMode="auto">
              <a:xfrm>
                <a:off x="11436512" y="6257178"/>
                <a:ext cx="155160" cy="30374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Rectangle 64"/>
              <p:cNvSpPr>
                <a:spLocks noChangeArrowheads="1"/>
              </p:cNvSpPr>
              <p:nvPr/>
            </p:nvSpPr>
            <p:spPr bwMode="auto">
              <a:xfrm>
                <a:off x="11706069" y="6257178"/>
                <a:ext cx="155160" cy="30374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 65"/>
              <p:cNvSpPr>
                <a:spLocks noChangeArrowheads="1"/>
              </p:cNvSpPr>
              <p:nvPr/>
            </p:nvSpPr>
            <p:spPr bwMode="auto">
              <a:xfrm>
                <a:off x="11972998" y="5199985"/>
                <a:ext cx="156476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 66"/>
              <p:cNvSpPr>
                <a:spLocks noChangeArrowheads="1"/>
              </p:cNvSpPr>
              <p:nvPr/>
            </p:nvSpPr>
            <p:spPr bwMode="auto">
              <a:xfrm>
                <a:off x="11169583" y="5466913"/>
                <a:ext cx="155160" cy="15647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Rectangle 67"/>
              <p:cNvSpPr>
                <a:spLocks noChangeArrowheads="1"/>
              </p:cNvSpPr>
              <p:nvPr/>
            </p:nvSpPr>
            <p:spPr bwMode="auto">
              <a:xfrm>
                <a:off x="11436512" y="5466913"/>
                <a:ext cx="155160" cy="15647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68"/>
              <p:cNvSpPr>
                <a:spLocks noChangeArrowheads="1"/>
              </p:cNvSpPr>
              <p:nvPr/>
            </p:nvSpPr>
            <p:spPr bwMode="auto">
              <a:xfrm>
                <a:off x="11706069" y="5466913"/>
                <a:ext cx="155160" cy="15647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Rectangle 69"/>
              <p:cNvSpPr>
                <a:spLocks noChangeArrowheads="1"/>
              </p:cNvSpPr>
              <p:nvPr/>
            </p:nvSpPr>
            <p:spPr bwMode="auto">
              <a:xfrm>
                <a:off x="11972998" y="5466913"/>
                <a:ext cx="156476" cy="15647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Rectangle 70"/>
              <p:cNvSpPr>
                <a:spLocks noChangeArrowheads="1"/>
              </p:cNvSpPr>
              <p:nvPr/>
            </p:nvSpPr>
            <p:spPr bwMode="auto">
              <a:xfrm>
                <a:off x="11169583" y="5737786"/>
                <a:ext cx="155160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Rectangle 71"/>
              <p:cNvSpPr>
                <a:spLocks noChangeArrowheads="1"/>
              </p:cNvSpPr>
              <p:nvPr/>
            </p:nvSpPr>
            <p:spPr bwMode="auto">
              <a:xfrm>
                <a:off x="11436512" y="5737786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Rectangle 72"/>
              <p:cNvSpPr>
                <a:spLocks noChangeArrowheads="1"/>
              </p:cNvSpPr>
              <p:nvPr/>
            </p:nvSpPr>
            <p:spPr bwMode="auto">
              <a:xfrm>
                <a:off x="11706069" y="5737786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Rectangle 73"/>
              <p:cNvSpPr>
                <a:spLocks noChangeArrowheads="1"/>
              </p:cNvSpPr>
              <p:nvPr/>
            </p:nvSpPr>
            <p:spPr bwMode="auto">
              <a:xfrm>
                <a:off x="11972998" y="5737786"/>
                <a:ext cx="156476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Rectangle 74"/>
              <p:cNvSpPr>
                <a:spLocks noChangeArrowheads="1"/>
              </p:cNvSpPr>
              <p:nvPr/>
            </p:nvSpPr>
            <p:spPr bwMode="auto">
              <a:xfrm>
                <a:off x="11169583" y="6004714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Rectangle 75"/>
              <p:cNvSpPr>
                <a:spLocks noChangeArrowheads="1"/>
              </p:cNvSpPr>
              <p:nvPr/>
            </p:nvSpPr>
            <p:spPr bwMode="auto">
              <a:xfrm>
                <a:off x="11436512" y="6004714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Rectangle 76"/>
              <p:cNvSpPr>
                <a:spLocks noChangeArrowheads="1"/>
              </p:cNvSpPr>
              <p:nvPr/>
            </p:nvSpPr>
            <p:spPr bwMode="auto">
              <a:xfrm>
                <a:off x="11706069" y="6004714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Rectangle 77"/>
              <p:cNvSpPr>
                <a:spLocks noChangeArrowheads="1"/>
              </p:cNvSpPr>
              <p:nvPr/>
            </p:nvSpPr>
            <p:spPr bwMode="auto">
              <a:xfrm>
                <a:off x="11972998" y="6004714"/>
                <a:ext cx="156476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Rectangle 78"/>
              <p:cNvSpPr>
                <a:spLocks noChangeArrowheads="1"/>
              </p:cNvSpPr>
              <p:nvPr/>
            </p:nvSpPr>
            <p:spPr bwMode="auto">
              <a:xfrm>
                <a:off x="11169583" y="5737786"/>
                <a:ext cx="155160" cy="7758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Rectangle 79"/>
              <p:cNvSpPr>
                <a:spLocks noChangeArrowheads="1"/>
              </p:cNvSpPr>
              <p:nvPr/>
            </p:nvSpPr>
            <p:spPr bwMode="auto">
              <a:xfrm>
                <a:off x="11972998" y="5737786"/>
                <a:ext cx="156476" cy="7758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Rectangle 80"/>
              <p:cNvSpPr>
                <a:spLocks noChangeArrowheads="1"/>
              </p:cNvSpPr>
              <p:nvPr/>
            </p:nvSpPr>
            <p:spPr bwMode="auto">
              <a:xfrm>
                <a:off x="11972998" y="5466913"/>
                <a:ext cx="156476" cy="7889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Rectangle 86"/>
              <p:cNvSpPr>
                <a:spLocks noChangeArrowheads="1"/>
              </p:cNvSpPr>
              <p:nvPr/>
            </p:nvSpPr>
            <p:spPr bwMode="auto">
              <a:xfrm>
                <a:off x="11169583" y="4930427"/>
                <a:ext cx="155160" cy="15516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Rectangle 87"/>
              <p:cNvSpPr>
                <a:spLocks noChangeArrowheads="1"/>
              </p:cNvSpPr>
              <p:nvPr/>
            </p:nvSpPr>
            <p:spPr bwMode="auto">
              <a:xfrm>
                <a:off x="11436512" y="4930427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Rectangle 88"/>
              <p:cNvSpPr>
                <a:spLocks noChangeArrowheads="1"/>
              </p:cNvSpPr>
              <p:nvPr/>
            </p:nvSpPr>
            <p:spPr bwMode="auto">
              <a:xfrm>
                <a:off x="11706069" y="4930427"/>
                <a:ext cx="155160" cy="15516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Rectangle 89"/>
              <p:cNvSpPr>
                <a:spLocks noChangeArrowheads="1"/>
              </p:cNvSpPr>
              <p:nvPr/>
            </p:nvSpPr>
            <p:spPr bwMode="auto">
              <a:xfrm>
                <a:off x="11972998" y="4930427"/>
                <a:ext cx="156476" cy="15516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Rectangle 90"/>
              <p:cNvSpPr>
                <a:spLocks noChangeArrowheads="1"/>
              </p:cNvSpPr>
              <p:nvPr/>
            </p:nvSpPr>
            <p:spPr bwMode="auto">
              <a:xfrm>
                <a:off x="11972998" y="4930427"/>
                <a:ext cx="156476" cy="77580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Rectangle 93"/>
              <p:cNvSpPr>
                <a:spLocks noChangeArrowheads="1"/>
              </p:cNvSpPr>
              <p:nvPr/>
            </p:nvSpPr>
            <p:spPr bwMode="auto">
              <a:xfrm>
                <a:off x="10700158" y="6483344"/>
                <a:ext cx="447072" cy="77580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35"/>
            <p:cNvSpPr>
              <a:spLocks/>
            </p:cNvSpPr>
            <p:nvPr/>
          </p:nvSpPr>
          <p:spPr bwMode="auto">
            <a:xfrm>
              <a:off x="3261625" y="6262867"/>
              <a:ext cx="174414" cy="517166"/>
            </a:xfrm>
            <a:custGeom>
              <a:avLst/>
              <a:gdLst>
                <a:gd name="T0" fmla="*/ 111 w 201"/>
                <a:gd name="T1" fmla="*/ 0 h 596"/>
                <a:gd name="T2" fmla="*/ 0 w 201"/>
                <a:gd name="T3" fmla="*/ 596 h 596"/>
                <a:gd name="T4" fmla="*/ 201 w 201"/>
                <a:gd name="T5" fmla="*/ 596 h 596"/>
                <a:gd name="T6" fmla="*/ 111 w 201"/>
                <a:gd name="T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1" h="596">
                  <a:moveTo>
                    <a:pt x="111" y="0"/>
                  </a:moveTo>
                  <a:lnTo>
                    <a:pt x="0" y="596"/>
                  </a:lnTo>
                  <a:lnTo>
                    <a:pt x="201" y="59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-32161" y="6353818"/>
            <a:ext cx="24781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</a:t>
            </a:r>
            <a:r>
              <a:rPr kumimoji="0" lang="en-GB" sz="2400" b="0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_Bi</a:t>
            </a: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9580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arch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312687" y="1973516"/>
            <a:ext cx="9990748" cy="285001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ssue search queries: Azure Portal, APIs or .NET SDK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imple query syntax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ucene query syntax	</a:t>
            </a:r>
          </a:p>
        </p:txBody>
      </p:sp>
    </p:spTree>
    <p:extLst>
      <p:ext uri="{BB962C8B-B14F-4D97-AF65-F5344CB8AC3E}">
        <p14:creationId xmlns:p14="http://schemas.microsoft.com/office/powerpoint/2010/main" val="18336176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cing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2687" y="1973516"/>
            <a:ext cx="9990748" cy="285001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ree – shared service 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asic – small production workloads 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andard – multiple configurations and capabilities	</a:t>
            </a:r>
          </a:p>
        </p:txBody>
      </p:sp>
    </p:spTree>
    <p:extLst>
      <p:ext uri="{BB962C8B-B14F-4D97-AF65-F5344CB8AC3E}">
        <p14:creationId xmlns:p14="http://schemas.microsoft.com/office/powerpoint/2010/main" val="23932871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zure Search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9240" y="1824104"/>
            <a:ext cx="11125200" cy="326243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arch-as-a-Servic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o infrastructure management and no need of becoming search expert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 search to your apps using API or .NET SDK</a:t>
            </a:r>
          </a:p>
        </p:txBody>
      </p:sp>
    </p:spTree>
    <p:extLst>
      <p:ext uri="{BB962C8B-B14F-4D97-AF65-F5344CB8AC3E}">
        <p14:creationId xmlns:p14="http://schemas.microsoft.com/office/powerpoint/2010/main" val="239712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atur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9240" y="1435634"/>
            <a:ext cx="11125200" cy="447507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ful Queries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anguage support – 56 languages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ucene </a:t>
            </a:r>
            <a:r>
              <a:rPr lang="en-GB" sz="2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alyzers</a:t>
            </a: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: stemming, stop words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</a:t>
            </a:r>
            <a:r>
              <a:rPr lang="en-GB" sz="2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alyzers</a:t>
            </a: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: lemmatisation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arch suggestions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it highlighting 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ceted navigation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eo-spatial support </a:t>
            </a:r>
          </a:p>
        </p:txBody>
      </p:sp>
    </p:spTree>
    <p:extLst>
      <p:ext uri="{BB962C8B-B14F-4D97-AF65-F5344CB8AC3E}">
        <p14:creationId xmlns:p14="http://schemas.microsoft.com/office/powerpoint/2010/main" val="4280765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Workflow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09812" y="2516094"/>
            <a:ext cx="10357223" cy="1010024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50038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vision Servi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478" y="1305228"/>
            <a:ext cx="5550602" cy="496047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69240" y="1883869"/>
            <a:ext cx="6059842" cy="323780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ing Azure Portal or the Azure Resource Management API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cale in two dimensions:</a:t>
            </a:r>
          </a:p>
          <a:p>
            <a:pPr marL="800100" lvl="1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licas – more capacity</a:t>
            </a:r>
          </a:p>
          <a:p>
            <a:pPr marL="800100" lvl="1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rtitions – more storage</a:t>
            </a:r>
          </a:p>
        </p:txBody>
      </p:sp>
    </p:spTree>
    <p:extLst>
      <p:ext uri="{BB962C8B-B14F-4D97-AF65-F5344CB8AC3E}">
        <p14:creationId xmlns:p14="http://schemas.microsoft.com/office/powerpoint/2010/main" val="344623493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Index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312687" y="1973516"/>
            <a:ext cx="9990748" cy="285001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dex = container of data, “table” that accepts queries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fine index schema – name, type, attributes of each field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chema created via Azure Portal, .NET SDK or APIs</a:t>
            </a:r>
          </a:p>
        </p:txBody>
      </p:sp>
    </p:spTree>
    <p:extLst>
      <p:ext uri="{BB962C8B-B14F-4D97-AF65-F5344CB8AC3E}">
        <p14:creationId xmlns:p14="http://schemas.microsoft.com/office/powerpoint/2010/main" val="29268070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Index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8805" y="1305228"/>
            <a:ext cx="8154621" cy="5006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7223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Index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9810" y="1263010"/>
            <a:ext cx="8072223" cy="502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47931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ex data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748306" y="420852"/>
            <a:ext cx="6977529" cy="753035"/>
            <a:chOff x="809812" y="2516094"/>
            <a:chExt cx="10357223" cy="1010024"/>
          </a:xfrm>
        </p:grpSpPr>
        <p:sp>
          <p:nvSpPr>
            <p:cNvPr id="3" name="Rectangle: Rounded Corners 2"/>
            <p:cNvSpPr/>
            <p:nvPr/>
          </p:nvSpPr>
          <p:spPr bwMode="auto">
            <a:xfrm>
              <a:off x="809812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Provision service</a:t>
              </a:r>
            </a:p>
          </p:txBody>
        </p:sp>
        <p:sp>
          <p:nvSpPr>
            <p:cNvPr id="4" name="Rectangle: Rounded Corners 3"/>
            <p:cNvSpPr/>
            <p:nvPr/>
          </p:nvSpPr>
          <p:spPr bwMode="auto">
            <a:xfrm>
              <a:off x="3630706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e index</a:t>
              </a:r>
            </a:p>
          </p:txBody>
        </p:sp>
        <p:sp>
          <p:nvSpPr>
            <p:cNvPr id="5" name="Rectangle: Rounded Corners 4"/>
            <p:cNvSpPr/>
            <p:nvPr/>
          </p:nvSpPr>
          <p:spPr bwMode="auto">
            <a:xfrm>
              <a:off x="6451600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dex data</a:t>
              </a:r>
            </a:p>
          </p:txBody>
        </p:sp>
        <p:sp>
          <p:nvSpPr>
            <p:cNvPr id="6" name="Rectangle: Rounded Corners 5"/>
            <p:cNvSpPr/>
            <p:nvPr/>
          </p:nvSpPr>
          <p:spPr bwMode="auto">
            <a:xfrm>
              <a:off x="9272494" y="2516094"/>
              <a:ext cx="1894541" cy="1010024"/>
            </a:xfrm>
            <a:prstGeom prst="roundRect">
              <a:avLst/>
            </a:prstGeom>
            <a:solidFill>
              <a:srgbClr val="2A8ED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cxnSp>
          <p:nvCxnSpPr>
            <p:cNvPr id="8" name="Straight Arrow Connector 7"/>
            <p:cNvCxnSpPr>
              <a:stCxn id="3" idx="3"/>
              <a:endCxn id="4" idx="1"/>
            </p:cNvCxnSpPr>
            <p:nvPr/>
          </p:nvCxnSpPr>
          <p:spPr>
            <a:xfrm>
              <a:off x="2704353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4" idx="3"/>
              <a:endCxn id="5" idx="1"/>
            </p:cNvCxnSpPr>
            <p:nvPr/>
          </p:nvCxnSpPr>
          <p:spPr>
            <a:xfrm>
              <a:off x="5525247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5" idx="3"/>
              <a:endCxn id="6" idx="1"/>
            </p:cNvCxnSpPr>
            <p:nvPr/>
          </p:nvCxnSpPr>
          <p:spPr>
            <a:xfrm>
              <a:off x="8346141" y="3021106"/>
              <a:ext cx="9263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330617" y="1681745"/>
            <a:ext cx="9990748" cy="445044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/pull</a:t>
            </a: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odel to upload data to the index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endParaRPr lang="en-GB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</a:t>
            </a: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to an index – indexing APIs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nd updated documents to an index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nd data from any dataset using JSON format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ll</a:t>
            </a: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into an index – using indexers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000" dirty="0"/>
              <a:t>Blob storage, Table storage, </a:t>
            </a:r>
            <a:r>
              <a:rPr lang="en-GB" sz="2000" dirty="0" err="1"/>
              <a:t>DocumentDB</a:t>
            </a:r>
            <a:r>
              <a:rPr lang="en-GB" sz="2000" dirty="0"/>
              <a:t>, Azure SQL and SQL Server in VM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int at the data source, define policy</a:t>
            </a:r>
          </a:p>
          <a:p>
            <a:pPr marL="914400" lvl="1" indent="-4572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cheduling </a:t>
            </a:r>
          </a:p>
        </p:txBody>
      </p:sp>
    </p:spTree>
    <p:extLst>
      <p:ext uri="{BB962C8B-B14F-4D97-AF65-F5344CB8AC3E}">
        <p14:creationId xmlns:p14="http://schemas.microsoft.com/office/powerpoint/2010/main" val="16041547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1_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002050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4.xml><?xml version="1.0" encoding="utf-8"?>
<a:theme xmlns:a="http://schemas.openxmlformats.org/drawingml/2006/main" name="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5.xml><?xml version="1.0" encoding="utf-8"?>
<a:theme xmlns:a="http://schemas.openxmlformats.org/drawingml/2006/main" name="1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WHITE_Oct_2014.potx" id="{4F09737C-ADEF-4314-AB56-4A518DF7B933}" vid="{87A94877-8473-4FD7-A13A-DB9D3F7775DC}"/>
    </a:ext>
  </a:extLst>
</a:theme>
</file>

<file path=ppt/theme/theme6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alking Deck" id="{54E23AB9-3DBE-4A47-A984-5CA2F86BBB31}" vid="{BD38CEB1-68A3-47F2-A62B-A143A6AC5848}"/>
    </a:ext>
  </a:extLst>
</a:theme>
</file>

<file path=ppt/theme/theme7.xml><?xml version="1.0" encoding="utf-8"?>
<a:theme xmlns:a="http://schemas.openxmlformats.org/drawingml/2006/main" name="6-50001_WPC 2016 Breakout Template">
  <a:themeElements>
    <a:clrScheme name="WPC 2016 colors">
      <a:dk1>
        <a:srgbClr val="505050"/>
      </a:dk1>
      <a:lt1>
        <a:srgbClr val="FFFFFF"/>
      </a:lt1>
      <a:dk2>
        <a:srgbClr val="5C2D91"/>
      </a:dk2>
      <a:lt2>
        <a:srgbClr val="EAEAEA"/>
      </a:lt2>
      <a:accent1>
        <a:srgbClr val="5C2D91"/>
      </a:accent1>
      <a:accent2>
        <a:srgbClr val="0078D7"/>
      </a:accent2>
      <a:accent3>
        <a:srgbClr val="002050"/>
      </a:accent3>
      <a:accent4>
        <a:srgbClr val="32145A"/>
      </a:accent4>
      <a:accent5>
        <a:srgbClr val="B4009E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PC_2016_Session_16x9_Template.potx" id="{085148F9-3FB5-45CD-9508-2D9F57AE2938}" vid="{2AB61A27-A5F8-4D15-B4C3-BC1FC60C2EA2}"/>
    </a:ext>
  </a:extLst>
</a:theme>
</file>

<file path=ppt/theme/theme8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9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</TotalTime>
  <Words>301</Words>
  <Application>Microsoft Office PowerPoint</Application>
  <PresentationFormat>Widescreen</PresentationFormat>
  <Paragraphs>99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1" baseType="lpstr">
      <vt:lpstr>Arial</vt:lpstr>
      <vt:lpstr>Calibri</vt:lpstr>
      <vt:lpstr>Calibri Light</vt:lpstr>
      <vt:lpstr>Consolas</vt:lpstr>
      <vt:lpstr>Courier New</vt:lpstr>
      <vt:lpstr>Segoe UI</vt:lpstr>
      <vt:lpstr>Segoe UI Black</vt:lpstr>
      <vt:lpstr>Segoe UI Light</vt:lpstr>
      <vt:lpstr>Segoe UI Semibold</vt:lpstr>
      <vt:lpstr>Wingdings</vt:lpstr>
      <vt:lpstr>Office Theme</vt:lpstr>
      <vt:lpstr>WHITE TEMPLATE</vt:lpstr>
      <vt:lpstr>1_COLOR TEMPLATE</vt:lpstr>
      <vt:lpstr>LIGHT COLOR TEMPLATE</vt:lpstr>
      <vt:lpstr>1_WHITE TEMPLATE</vt:lpstr>
      <vt:lpstr>STB Product Families 2015</vt:lpstr>
      <vt:lpstr>6-50001_WPC 2016 Breakout Template</vt:lpstr>
      <vt:lpstr>COLOR TEMPLATE</vt:lpstr>
      <vt:lpstr>5-30721_Build_2016_Template_Light</vt:lpstr>
      <vt:lpstr>think-cell Slide</vt:lpstr>
      <vt:lpstr>Azure Search</vt:lpstr>
      <vt:lpstr>What is Azure Search?</vt:lpstr>
      <vt:lpstr>Features</vt:lpstr>
      <vt:lpstr>Typical Workflow</vt:lpstr>
      <vt:lpstr>Provision Service</vt:lpstr>
      <vt:lpstr>Create Index</vt:lpstr>
      <vt:lpstr>Create Index</vt:lpstr>
      <vt:lpstr>Create Index</vt:lpstr>
      <vt:lpstr>Index data</vt:lpstr>
      <vt:lpstr>Search</vt:lpstr>
      <vt:lpstr>Pric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tana Intelligence Suite Transform data into intelligent action </dc:title>
  <dc:creator>Bianca Furtuna</dc:creator>
  <cp:lastModifiedBy>Bianca Furtuna</cp:lastModifiedBy>
  <cp:revision>36</cp:revision>
  <dcterms:created xsi:type="dcterms:W3CDTF">2016-11-01T13:06:24Z</dcterms:created>
  <dcterms:modified xsi:type="dcterms:W3CDTF">2017-02-15T14:12:59Z</dcterms:modified>
</cp:coreProperties>
</file>